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presentation.xml" ContentType="application/vnd.openxmlformats-officedocument.presentationml.presentation.main+xml"/>
  <Override PartName="/ppt/drawings/drawing1.xml" ContentType="application/vnd.openxmlformats-officedocument.drawingml.chartshapes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charts/chart15.xml" ContentType="application/vnd.openxmlformats-officedocument.drawingml.chart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5.xml" ContentType="application/vnd.openxmlformats-officedocument.themeOverr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charts/chart14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heme/themeOverride2.xml" ContentType="application/vnd.openxmlformats-officedocument.themeOverr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heme/themeOverride4.xml" ContentType="application/vnd.openxmlformats-officedocument.themeOverride+xml"/>
  <Override PartName="/ppt/charts/chart13.xml" ContentType="application/vnd.openxmlformats-officedocument.drawingml.chart+xml"/>
  <Override PartName="/ppt/theme/themeOverride3.xml" ContentType="application/vnd.openxmlformats-officedocument.themeOverride+xml"/>
  <Override PartName="/ppt/charts/chart12.xml" ContentType="application/vnd.openxmlformats-officedocument.drawingml.chart+xml"/>
  <Override PartName="/ppt/charts/chart11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2.xml" ContentType="application/vnd.openxmlformats-officedocument.drawingml.chart+xml"/>
  <Override PartName="/ppt/charts/chart2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21.xml" ContentType="application/vnd.openxmlformats-officedocument.drawingml.chart+xml"/>
  <Override PartName="/ppt/charts/chart20.xml" ContentType="application/vnd.openxmlformats-officedocument.drawingml.chart+xml"/>
  <Override PartName="/ppt/charts/chart19.xml" ContentType="application/vnd.openxmlformats-officedocument.drawingml.chart+xml"/>
  <Override PartName="/ppt/charts/chart18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charts/chart17.xml" ContentType="application/vnd.openxmlformats-officedocument.drawingml.chart+xml"/>
  <Override PartName="/ppt/charts/chart16.xml" ContentType="application/vnd.openxmlformats-officedocument.drawingml.chart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11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8" r:id="rId1"/>
  </p:sldMasterIdLst>
  <p:notesMasterIdLst>
    <p:notesMasterId r:id="rId41"/>
  </p:notesMasterIdLst>
  <p:handoutMasterIdLst>
    <p:handoutMasterId r:id="rId42"/>
  </p:handoutMasterIdLst>
  <p:sldIdLst>
    <p:sldId id="4557" r:id="rId2"/>
    <p:sldId id="2147375658" r:id="rId3"/>
    <p:sldId id="4802" r:id="rId4"/>
    <p:sldId id="2147375713" r:id="rId5"/>
    <p:sldId id="2147375674" r:id="rId6"/>
    <p:sldId id="2147375714" r:id="rId7"/>
    <p:sldId id="2145706378" r:id="rId8"/>
    <p:sldId id="2147375719" r:id="rId9"/>
    <p:sldId id="2147375715" r:id="rId10"/>
    <p:sldId id="4602" r:id="rId11"/>
    <p:sldId id="4603" r:id="rId12"/>
    <p:sldId id="2147375720" r:id="rId13"/>
    <p:sldId id="4569" r:id="rId14"/>
    <p:sldId id="2147375717" r:id="rId15"/>
    <p:sldId id="2147375646" r:id="rId16"/>
    <p:sldId id="2147375647" r:id="rId17"/>
    <p:sldId id="4572" r:id="rId18"/>
    <p:sldId id="2147375718" r:id="rId19"/>
    <p:sldId id="2147375651" r:id="rId20"/>
    <p:sldId id="2720" r:id="rId21"/>
    <p:sldId id="4576" r:id="rId22"/>
    <p:sldId id="2147375716" r:id="rId23"/>
    <p:sldId id="2147375656" r:id="rId24"/>
    <p:sldId id="260" r:id="rId25"/>
    <p:sldId id="564" r:id="rId26"/>
    <p:sldId id="2147375623" r:id="rId27"/>
    <p:sldId id="2147375599" r:id="rId28"/>
    <p:sldId id="2147375604" r:id="rId29"/>
    <p:sldId id="2147375612" r:id="rId30"/>
    <p:sldId id="2147375655" r:id="rId31"/>
    <p:sldId id="2147375607" r:id="rId32"/>
    <p:sldId id="2147375605" r:id="rId33"/>
    <p:sldId id="2147375649" r:id="rId34"/>
    <p:sldId id="2147375619" r:id="rId35"/>
    <p:sldId id="4592" r:id="rId36"/>
    <p:sldId id="2147375617" r:id="rId37"/>
    <p:sldId id="2145706393" r:id="rId38"/>
    <p:sldId id="4806" r:id="rId39"/>
    <p:sldId id="2147375721" r:id="rId40"/>
  </p:sldIdLst>
  <p:sldSz cx="9215438" cy="5184775"/>
  <p:notesSz cx="6858000" cy="9144000"/>
  <p:custDataLst>
    <p:tags r:id="rId43"/>
  </p:custDataLst>
  <p:defaultTextStyle>
    <a:defPPr>
      <a:defRPr lang="de-DE"/>
    </a:defPPr>
    <a:lvl1pPr marL="0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1pPr>
    <a:lvl2pPr marL="345597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2pPr>
    <a:lvl3pPr marL="691195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3pPr>
    <a:lvl4pPr marL="1036792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4pPr>
    <a:lvl5pPr marL="1382390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5pPr>
    <a:lvl6pPr marL="1727987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6pPr>
    <a:lvl7pPr marL="2073585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7pPr>
    <a:lvl8pPr marL="2419182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8pPr>
    <a:lvl9pPr marL="2764780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948" userDrawn="1">
          <p15:clr>
            <a:srgbClr val="A4A3A4"/>
          </p15:clr>
        </p15:guide>
        <p15:guide id="2" orient="horz" pos="163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ael Metternich" initials="MM" lastIdx="2" clrIdx="0">
    <p:extLst>
      <p:ext uri="{19B8F6BF-5375-455C-9EA6-DF929625EA0E}">
        <p15:presenceInfo xmlns:p15="http://schemas.microsoft.com/office/powerpoint/2012/main" userId="S::metternich@mitcon.de::ca75dda2-14f2-40fc-bbd6-f67efad6a5b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415"/>
    <a:srgbClr val="91B800"/>
    <a:srgbClr val="FF00FF"/>
    <a:srgbClr val="CC00CC"/>
    <a:srgbClr val="FF99FF"/>
    <a:srgbClr val="BCE4FF"/>
    <a:srgbClr val="C85100"/>
    <a:srgbClr val="CEECF6"/>
    <a:srgbClr val="4BDDFF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816" autoAdjust="0"/>
    <p:restoredTop sz="96517" autoAdjust="0"/>
  </p:normalViewPr>
  <p:slideViewPr>
    <p:cSldViewPr>
      <p:cViewPr varScale="1">
        <p:scale>
          <a:sx n="110" d="100"/>
          <a:sy n="110" d="100"/>
        </p:scale>
        <p:origin x="636" y="85"/>
      </p:cViewPr>
      <p:guideLst>
        <p:guide pos="2948"/>
        <p:guide orient="horz" pos="163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8" d="100"/>
          <a:sy n="88" d="100"/>
        </p:scale>
        <p:origin x="267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3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4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5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1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2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967654444327951E-2"/>
          <c:y val="8.3447879313646001E-2"/>
          <c:w val="0.90203234555567202"/>
          <c:h val="0.8739286060414091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Mineralöl</c:v>
                </c:pt>
              </c:strCache>
            </c:strRef>
          </c:tx>
          <c:spPr>
            <a:solidFill>
              <a:srgbClr val="477390"/>
            </a:solidFill>
            <a:ln w="25345"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C20-4E69-BFE4-4488C7144503}"/>
              </c:ext>
            </c:extLst>
          </c:dPt>
          <c:dLbls>
            <c:dLbl>
              <c:idx val="0"/>
              <c:layout>
                <c:manualLayout>
                  <c:x val="-1.7767410010821555E-17"/>
                  <c:y val="7.5062581698960166E-3"/>
                </c:manualLayout>
              </c:layout>
              <c:dLblPos val="outEnd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C20-4E69-BFE4-4488C7144503}"/>
                </c:ext>
              </c:extLst>
            </c:dLbl>
            <c:numFmt formatCode="\+0.0&quot; %&quot;;\-0.0&quot; %&quot;;0.0&quot; %&quot;" sourceLinked="0"/>
            <c:spPr>
              <a:noFill/>
              <a:ln w="25345">
                <a:noFill/>
              </a:ln>
            </c:spPr>
            <c:txPr>
              <a:bodyPr wrap="square"/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Rate</c:v>
                </c:pt>
              </c:strCache>
            </c:strRef>
          </c:cat>
          <c:val>
            <c:numRef>
              <c:f>Sheet1!$B$2:$B$2</c:f>
              <c:numCache>
                <c:formatCode>\+0.0;\ \-0.0</c:formatCode>
                <c:ptCount val="1"/>
                <c:pt idx="0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C20-4E69-BFE4-4488C7144503}"/>
            </c:ext>
          </c:extLst>
        </c:ser>
        <c:ser>
          <c:idx val="3"/>
          <c:order val="1"/>
          <c:tx>
            <c:strRef>
              <c:f>Sheet1!$A$3</c:f>
              <c:strCache>
                <c:ptCount val="1"/>
                <c:pt idx="0">
                  <c:v>Erdgas</c:v>
                </c:pt>
              </c:strCache>
            </c:strRef>
          </c:tx>
          <c:spPr>
            <a:solidFill>
              <a:schemeClr val="accent4"/>
            </a:solidFill>
            <a:ln w="25345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9382853012499448E-3"/>
                  <c:y val="-3.7513562322862471E-3"/>
                </c:manualLayout>
              </c:layout>
              <c:dLblPos val="outEnd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C20-4E69-BFE4-4488C7144503}"/>
                </c:ext>
              </c:extLst>
            </c:dLbl>
            <c:numFmt formatCode="\+0.0&quot; %&quot;;\-0.0&quot; %&quot;;0.0&quot; %&quot;" sourceLinked="0"/>
            <c:spPr>
              <a:noFill/>
              <a:ln w="25345">
                <a:noFill/>
              </a:ln>
            </c:spPr>
            <c:txPr>
              <a:bodyPr wrap="none" anchorCtr="0"/>
              <a:lstStyle/>
              <a:p>
                <a:pPr algn="l">
                  <a:defRPr sz="1200" b="1" i="0" u="none" strike="noStrike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Rate</c:v>
                </c:pt>
              </c:strCache>
            </c:strRef>
          </c:cat>
          <c:val>
            <c:numRef>
              <c:f>Sheet1!$B$3:$B$3</c:f>
              <c:numCache>
                <c:formatCode>\+0.0;\ \-0.0</c:formatCode>
                <c:ptCount val="1"/>
                <c:pt idx="0">
                  <c:v>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20-4E69-BFE4-4488C7144503}"/>
            </c:ext>
          </c:extLst>
        </c:ser>
        <c:ser>
          <c:idx val="6"/>
          <c:order val="2"/>
          <c:tx>
            <c:strRef>
              <c:f>Sheet1!$A$4</c:f>
              <c:strCache>
                <c:ptCount val="1"/>
                <c:pt idx="0">
                  <c:v>Erneuerbare 
Energien</c:v>
                </c:pt>
              </c:strCache>
            </c:strRef>
          </c:tx>
          <c:spPr>
            <a:solidFill>
              <a:srgbClr val="99C200"/>
            </a:solidFill>
            <a:ln w="25345">
              <a:noFill/>
            </a:ln>
            <a:effectLst/>
          </c:spPr>
          <c:invertIfNegative val="0"/>
          <c:dLbls>
            <c:numFmt formatCode="\+0.0&quot; %&quot;;\-0.0&quot; %&quot;;0.0&quot; %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Rate</c:v>
                </c:pt>
              </c:strCache>
            </c:strRef>
          </c:cat>
          <c:val>
            <c:numRef>
              <c:f>Sheet1!$B$4:$B$4</c:f>
              <c:numCache>
                <c:formatCode>\+0.0;\ \-0.0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C20-4E69-BFE4-4488C7144503}"/>
            </c:ext>
          </c:extLst>
        </c:ser>
        <c:ser>
          <c:idx val="4"/>
          <c:order val="3"/>
          <c:tx>
            <c:strRef>
              <c:f>Sheet1!$A$5</c:f>
              <c:strCache>
                <c:ptCount val="1"/>
                <c:pt idx="0">
                  <c:v>Steinkohle</c:v>
                </c:pt>
              </c:strCache>
            </c:strRef>
          </c:tx>
          <c:spPr>
            <a:solidFill>
              <a:srgbClr val="333333"/>
            </a:solidFill>
            <a:ln w="25345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7.5062581698960166E-3"/>
                </c:manualLayout>
              </c:layout>
              <c:tx>
                <c:rich>
                  <a:bodyPr wrap="none" anchorCtr="0"/>
                  <a:lstStyle/>
                  <a:p>
                    <a:pPr algn="ctr">
                      <a:defRPr lang="de-DE" sz="1200" b="1" i="0" u="none" strike="noStrike" baseline="0">
                        <a:solidFill>
                          <a:schemeClr val="tx1"/>
                        </a:solidFill>
                        <a:latin typeface="+mj-lt"/>
                        <a:ea typeface="Arial"/>
                        <a:cs typeface="Arial"/>
                      </a:defRPr>
                    </a:pPr>
                    <a:fld id="{09216671-4603-4189-BB76-EAD9215E2DA4}" type="SERIESNAME">
                      <a:rPr lang="en-US">
                        <a:solidFill>
                          <a:schemeClr val="tx1"/>
                        </a:solidFill>
                      </a:rPr>
                      <a:pPr algn="ctr">
                        <a:defRPr lang="de-DE" sz="1200" b="1" i="0" u="none" strike="noStrike" baseline="0">
                          <a:solidFill>
                            <a:schemeClr val="tx1"/>
                          </a:solidFill>
                          <a:latin typeface="+mj-lt"/>
                          <a:ea typeface="Arial"/>
                          <a:cs typeface="Arial"/>
                        </a:defRPr>
                      </a:pPr>
                      <a:t>[DATENREIHENNAME]</a:t>
                    </a:fld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
</a:t>
                    </a:r>
                    <a:fld id="{D828F22A-288F-4E72-9EC2-3CEC2B15CCC0}" type="VALUE">
                      <a:rPr lang="en-US" baseline="0">
                        <a:solidFill>
                          <a:schemeClr val="tx1"/>
                        </a:solidFill>
                      </a:rPr>
                      <a:pPr algn="ctr">
                        <a:defRPr lang="de-DE" sz="1200" b="1" i="0" u="none" strike="noStrike" baseline="0">
                          <a:solidFill>
                            <a:schemeClr val="tx1"/>
                          </a:solidFill>
                          <a:latin typeface="+mj-lt"/>
                          <a:ea typeface="Arial"/>
                          <a:cs typeface="Arial"/>
                        </a:defRPr>
                      </a:pPr>
                      <a:t>[WERT]</a:t>
                    </a:fld>
                    <a:endParaRPr lang="en-US" baseline="0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\+0.0&quot; %&quot;;\-0.0&quot; %&quot;;0.0&quot; %&quot;" sourceLinked="0"/>
              <c:spPr>
                <a:noFill/>
                <a:ln w="25345">
                  <a:noFill/>
                </a:ln>
              </c:spPr>
              <c:dLblPos val="outEnd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C20-4E69-BFE4-4488C7144503}"/>
                </c:ext>
              </c:extLst>
            </c:dLbl>
            <c:numFmt formatCode="\+0.0&quot; %&quot;;\-0.0&quot; %&quot;;0.0&quot; %&quot;" sourceLinked="0"/>
            <c:spPr>
              <a:noFill/>
              <a:ln w="25345">
                <a:noFill/>
              </a:ln>
            </c:spPr>
            <c:txPr>
              <a:bodyPr wrap="none" anchorCtr="0"/>
              <a:lstStyle/>
              <a:p>
                <a:pPr algn="l">
                  <a:defRPr lang="de-DE" sz="1200" b="1" i="0" u="none" strike="noStrike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Rate</c:v>
                </c:pt>
              </c:strCache>
            </c:strRef>
          </c:cat>
          <c:val>
            <c:numRef>
              <c:f>Sheet1!$B$5:$B$5</c:f>
              <c:numCache>
                <c:formatCode>\+0.0;\ \-0.0</c:formatCode>
                <c:ptCount val="1"/>
                <c:pt idx="0">
                  <c:v>-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C20-4E69-BFE4-4488C7144503}"/>
            </c:ext>
          </c:extLst>
        </c:ser>
        <c:ser>
          <c:idx val="5"/>
          <c:order val="4"/>
          <c:tx>
            <c:strRef>
              <c:f>Sheet1!$A$6</c:f>
              <c:strCache>
                <c:ptCount val="1"/>
                <c:pt idx="0">
                  <c:v>Braunkohle</c:v>
                </c:pt>
              </c:strCache>
            </c:strRef>
          </c:tx>
          <c:spPr>
            <a:solidFill>
              <a:srgbClr val="8C3725"/>
            </a:solidFill>
            <a:ln w="25345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7.50684912078327E-3"/>
                </c:manualLayout>
              </c:layout>
              <c:tx>
                <c:rich>
                  <a:bodyPr vertOverflow="overflow" horzOverflow="overflow" wrap="none">
                    <a:spAutoFit/>
                  </a:bodyPr>
                  <a:lstStyle/>
                  <a:p>
                    <a:pPr>
                      <a:defRPr sz="1200" b="1" i="0" u="none" strike="noStrike" baseline="0">
                        <a:solidFill>
                          <a:schemeClr val="tx1"/>
                        </a:solidFill>
                        <a:latin typeface="+mj-lt"/>
                        <a:ea typeface="Arial"/>
                        <a:cs typeface="Arial"/>
                      </a:defRPr>
                    </a:pPr>
                    <a:fld id="{9DA98BD3-1573-46E9-BD15-09DCC669D153}" type="SERIESNAME">
                      <a:rPr lang="en-US">
                        <a:solidFill>
                          <a:schemeClr val="tx1"/>
                        </a:solidFill>
                      </a:rPr>
                      <a:pPr>
                        <a:defRPr sz="1200" b="1" i="0" u="none" strike="noStrike" baseline="0">
                          <a:solidFill>
                            <a:schemeClr val="tx1"/>
                          </a:solidFill>
                          <a:latin typeface="+mj-lt"/>
                          <a:ea typeface="Arial"/>
                          <a:cs typeface="Arial"/>
                        </a:defRPr>
                      </a:pPr>
                      <a:t>[DATENREIHENNAME]</a:t>
                    </a:fld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
</a:t>
                    </a:r>
                    <a:fld id="{1B17C7DA-7ABC-4BF9-AB92-19ADBD837AC4}" type="VALUE">
                      <a:rPr lang="en-US" baseline="0">
                        <a:solidFill>
                          <a:schemeClr val="tx1"/>
                        </a:solidFill>
                      </a:rPr>
                      <a:pPr>
                        <a:defRPr sz="1200" b="1" i="0" u="none" strike="noStrike" baseline="0">
                          <a:solidFill>
                            <a:schemeClr val="tx1"/>
                          </a:solidFill>
                          <a:latin typeface="+mj-lt"/>
                          <a:ea typeface="Arial"/>
                          <a:cs typeface="Arial"/>
                        </a:defRPr>
                      </a:pPr>
                      <a:t>[WERT]</a:t>
                    </a:fld>
                    <a:endParaRPr lang="en-US" baseline="0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\+0.0&quot; %&quot;;\-0.0&quot; %&quot;;0.0&quot; %&quot;" sourceLinked="0"/>
              <c:spPr>
                <a:noFill/>
                <a:ln w="25345">
                  <a:noFill/>
                </a:ln>
              </c:spPr>
              <c:dLblPos val="outEnd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C20-4E69-BFE4-4488C7144503}"/>
                </c:ext>
              </c:extLst>
            </c:dLbl>
            <c:numFmt formatCode="\+0.0&quot; %&quot;;\-0.0&quot; %&quot;;0.0&quot; %&quot;" sourceLinked="0"/>
            <c:spPr>
              <a:noFill/>
              <a:ln w="25345">
                <a:noFill/>
              </a:ln>
            </c:spPr>
            <c:txPr>
              <a:bodyPr vertOverflow="overflow" horzOverflow="overflow" wrap="none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Rate</c:v>
                </c:pt>
              </c:strCache>
            </c:strRef>
          </c:cat>
          <c:val>
            <c:numRef>
              <c:f>Sheet1!$B$6:$B$6</c:f>
              <c:numCache>
                <c:formatCode>\+0.0;\ \-0.0</c:formatCode>
                <c:ptCount val="1"/>
                <c:pt idx="0">
                  <c:v>-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C20-4E69-BFE4-4488C7144503}"/>
            </c:ext>
          </c:extLst>
        </c:ser>
        <c:ser>
          <c:idx val="7"/>
          <c:order val="5"/>
          <c:tx>
            <c:strRef>
              <c:f>Sheet1!$A$7</c:f>
              <c:strCache>
                <c:ptCount val="1"/>
                <c:pt idx="0">
                  <c:v>Sonstige</c:v>
                </c:pt>
              </c:strCache>
            </c:strRef>
          </c:tx>
          <c:spPr>
            <a:solidFill>
              <a:srgbClr val="B5C0C9"/>
            </a:solidFill>
            <a:ln w="25345">
              <a:noFill/>
            </a:ln>
            <a:effectLst/>
          </c:spPr>
          <c:invertIfNegative val="0"/>
          <c:dLbls>
            <c:numFmt formatCode="\+0.0&quot; %&quot;;\-0.0&quot; %&quot;;0.0&quot; %&quot;" sourceLinked="0"/>
            <c:spPr>
              <a:noFill/>
              <a:ln w="25345">
                <a:noFill/>
              </a:ln>
            </c:spPr>
            <c:txPr>
              <a:bodyPr wrap="none"/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Rate</c:v>
                </c:pt>
              </c:strCache>
            </c:strRef>
          </c:cat>
          <c:val>
            <c:numRef>
              <c:f>Sheet1!$B$7:$B$7</c:f>
              <c:numCache>
                <c:formatCode>\+0.0;\ \-0.0</c:formatCode>
                <c:ptCount val="1"/>
                <c:pt idx="0">
                  <c:v>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C20-4E69-BFE4-4488C7144503}"/>
            </c:ext>
          </c:extLst>
        </c:ser>
        <c:dLbls>
          <c:showLegendKey val="0"/>
          <c:showVal val="1"/>
          <c:showCatName val="0"/>
          <c:showSerName val="1"/>
          <c:showPercent val="0"/>
          <c:showBubbleSize val="0"/>
          <c:separator> </c:separator>
        </c:dLbls>
        <c:gapWidth val="50"/>
        <c:overlap val="-70"/>
        <c:axId val="48461312"/>
        <c:axId val="48462848"/>
      </c:barChart>
      <c:catAx>
        <c:axId val="48461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rgbClr val="B5C0C9"/>
            </a:solidFill>
            <a:prstDash val="solid"/>
          </a:ln>
        </c:spPr>
        <c:txPr>
          <a:bodyPr rot="0" vert="horz"/>
          <a:lstStyle/>
          <a:p>
            <a:pPr>
              <a:defRPr sz="1197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48462848"/>
        <c:crosses val="autoZero"/>
        <c:auto val="1"/>
        <c:lblAlgn val="ctr"/>
        <c:lblOffset val="100"/>
        <c:noMultiLvlLbl val="0"/>
      </c:catAx>
      <c:valAx>
        <c:axId val="48462848"/>
        <c:scaling>
          <c:orientation val="minMax"/>
          <c:max val="5"/>
          <c:min val="-5"/>
        </c:scaling>
        <c:delete val="0"/>
        <c:axPos val="l"/>
        <c:majorGridlines>
          <c:spPr>
            <a:ln w="9525">
              <a:solidFill>
                <a:srgbClr val="B5C0C9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400">
                    <a:latin typeface="+mn-lt"/>
                  </a:defRPr>
                </a:pPr>
                <a:r>
                  <a:rPr lang="de-DE" sz="1400" dirty="0">
                    <a:latin typeface="+mn-lt"/>
                  </a:rPr>
                  <a:t>Änderungsraten</a:t>
                </a:r>
                <a:r>
                  <a:rPr lang="de-DE" sz="1400" baseline="0" dirty="0">
                    <a:latin typeface="+mn-lt"/>
                  </a:rPr>
                  <a:t> in %</a:t>
                </a:r>
                <a:endParaRPr lang="de-DE" sz="1400" dirty="0">
                  <a:latin typeface="+mn-lt"/>
                </a:endParaRPr>
              </a:p>
            </c:rich>
          </c:tx>
          <c:layout>
            <c:manualLayout>
              <c:xMode val="edge"/>
              <c:yMode val="edge"/>
              <c:x val="1.7638396241374825E-3"/>
              <c:y val="0.22587531645420011"/>
            </c:manualLayout>
          </c:layout>
          <c:overlay val="0"/>
        </c:title>
        <c:numFmt formatCode="\+0;\ \-0" sourceLinked="0"/>
        <c:majorTickMark val="out"/>
        <c:minorTickMark val="none"/>
        <c:tickLblPos val="nextTo"/>
        <c:spPr>
          <a:ln w="9504">
            <a:noFill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de-DE"/>
          </a:p>
        </c:txPr>
        <c:crossAx val="48461312"/>
        <c:crosses val="autoZero"/>
        <c:crossBetween val="between"/>
        <c:majorUnit val="1"/>
      </c:valAx>
      <c:spPr>
        <a:noFill/>
        <a:ln w="2534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97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de-DE" sz="1600" b="0" dirty="0">
                <a:solidFill>
                  <a:schemeClr val="bg2"/>
                </a:solidFill>
                <a:effectLst/>
              </a:rPr>
              <a:t>Bruttostromerzeugung 2025 bisher</a:t>
            </a:r>
            <a:r>
              <a:rPr lang="de-DE" sz="1600" b="0">
                <a:solidFill>
                  <a:schemeClr val="bg2"/>
                </a:solidFill>
                <a:effectLst/>
              </a:rPr>
              <a:t>: 215 </a:t>
            </a:r>
            <a:r>
              <a:rPr lang="de-DE" sz="1600" b="0" dirty="0">
                <a:solidFill>
                  <a:schemeClr val="bg2"/>
                </a:solidFill>
                <a:effectLst/>
              </a:rPr>
              <a:t>Mrd. kWh*</a:t>
            </a:r>
            <a:br>
              <a:rPr lang="de-DE" sz="1600" b="0" dirty="0">
                <a:solidFill>
                  <a:schemeClr val="bg2"/>
                </a:solidFill>
                <a:effectLst/>
              </a:rPr>
            </a:br>
            <a:r>
              <a:rPr lang="de-DE" sz="1600" b="0" dirty="0">
                <a:solidFill>
                  <a:schemeClr val="bg2"/>
                </a:solidFill>
                <a:effectLst/>
              </a:rPr>
              <a:t>(Veränderung zum Vorjahreszeitraum gesamt</a:t>
            </a:r>
            <a:r>
              <a:rPr lang="de-DE" sz="1600" b="0">
                <a:solidFill>
                  <a:schemeClr val="bg2"/>
                </a:solidFill>
                <a:effectLst/>
              </a:rPr>
              <a:t>: -0,5 </a:t>
            </a:r>
            <a:r>
              <a:rPr lang="de-DE" sz="1600" b="0" dirty="0">
                <a:solidFill>
                  <a:schemeClr val="bg2"/>
                </a:solidFill>
                <a:effectLst/>
              </a:rPr>
              <a:t>%)</a:t>
            </a:r>
          </a:p>
        </c:rich>
      </c:tx>
      <c:layout>
        <c:manualLayout>
          <c:xMode val="edge"/>
          <c:yMode val="edge"/>
          <c:x val="1.3837672617692004E-3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8.0130505778844549E-2"/>
          <c:y val="0.18866029992317246"/>
          <c:w val="0.72157152417746728"/>
          <c:h val="0.69410512209769815"/>
        </c:manualLayout>
      </c:layout>
      <c:barChart>
        <c:barDir val="col"/>
        <c:grouping val="stacked"/>
        <c:varyColors val="0"/>
        <c:ser>
          <c:idx val="4"/>
          <c:order val="1"/>
          <c:tx>
            <c:strRef>
              <c:f>'2025'!$A$7</c:f>
              <c:strCache>
                <c:ptCount val="1"/>
                <c:pt idx="0">
                  <c:v>Wasser</c:v>
                </c:pt>
              </c:strCache>
            </c:strRef>
          </c:tx>
          <c:spPr>
            <a:solidFill>
              <a:srgbClr val="0068AF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7:$M$7</c:f>
              <c:numCache>
                <c:formatCode>#,##0.000</c:formatCode>
                <c:ptCount val="12"/>
                <c:pt idx="0">
                  <c:v>1.6812800503521534</c:v>
                </c:pt>
                <c:pt idx="1">
                  <c:v>1.3689169575624247</c:v>
                </c:pt>
                <c:pt idx="2">
                  <c:v>1.1373935237470696</c:v>
                </c:pt>
                <c:pt idx="3">
                  <c:v>1.0963495915160697</c:v>
                </c:pt>
                <c:pt idx="4">
                  <c:v>1.1880966291368269</c:v>
                </c:pt>
                <c:pt idx="5">
                  <c:v>1.371197925702164</c:v>
                </c:pt>
                <c:pt idx="6">
                  <c:v>1.4247113945501928</c:v>
                </c:pt>
                <c:pt idx="7">
                  <c:v>1.4959161288549265</c:v>
                </c:pt>
                <c:pt idx="8">
                  <c:v>1.4807524005414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13-4728-9758-9806550BD491}"/>
            </c:ext>
          </c:extLst>
        </c:ser>
        <c:ser>
          <c:idx val="8"/>
          <c:order val="2"/>
          <c:tx>
            <c:strRef>
              <c:f>'2025'!$A$11</c:f>
              <c:strCache>
                <c:ptCount val="1"/>
                <c:pt idx="0">
                  <c:v>Biomasse</c:v>
                </c:pt>
              </c:strCache>
            </c:strRef>
          </c:tx>
          <c:spPr>
            <a:solidFill>
              <a:srgbClr val="C4DA80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11:$M$11</c:f>
              <c:numCache>
                <c:formatCode>#,##0.000</c:formatCode>
                <c:ptCount val="12"/>
                <c:pt idx="0">
                  <c:v>3.8736249553158704</c:v>
                </c:pt>
                <c:pt idx="1">
                  <c:v>3.5096815597269626</c:v>
                </c:pt>
                <c:pt idx="2">
                  <c:v>3.7558595777616279</c:v>
                </c:pt>
                <c:pt idx="3">
                  <c:v>3.6204080653495443</c:v>
                </c:pt>
                <c:pt idx="4">
                  <c:v>3.6505913045156313</c:v>
                </c:pt>
                <c:pt idx="5">
                  <c:v>3.3456253970473968</c:v>
                </c:pt>
                <c:pt idx="6">
                  <c:v>3.4090394948688711</c:v>
                </c:pt>
                <c:pt idx="7">
                  <c:v>3.3999256553578818</c:v>
                </c:pt>
                <c:pt idx="8">
                  <c:v>3.3680915560344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A13-4728-9758-9806550BD491}"/>
            </c:ext>
          </c:extLst>
        </c:ser>
        <c:ser>
          <c:idx val="9"/>
          <c:order val="3"/>
          <c:tx>
            <c:strRef>
              <c:f>'2025'!$A$12</c:f>
              <c:strCache>
                <c:ptCount val="1"/>
                <c:pt idx="0">
                  <c:v>Siedlungsabfälle (50%)</c:v>
                </c:pt>
              </c:strCache>
            </c:strRef>
          </c:tx>
          <c:spPr>
            <a:solidFill>
              <a:srgbClr val="94A2AE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12:$M$12</c:f>
              <c:numCache>
                <c:formatCode>#,##0.000</c:formatCode>
                <c:ptCount val="12"/>
                <c:pt idx="0">
                  <c:v>0.46036031697331997</c:v>
                </c:pt>
                <c:pt idx="1">
                  <c:v>0.41634825755732091</c:v>
                </c:pt>
                <c:pt idx="2">
                  <c:v>0.47073380853674923</c:v>
                </c:pt>
                <c:pt idx="3">
                  <c:v>0.46189081754044747</c:v>
                </c:pt>
                <c:pt idx="4">
                  <c:v>0.43253516190146274</c:v>
                </c:pt>
                <c:pt idx="5">
                  <c:v>0.45456812643785632</c:v>
                </c:pt>
                <c:pt idx="6">
                  <c:v>0.46687057824352268</c:v>
                </c:pt>
                <c:pt idx="7">
                  <c:v>0.45498967307591104</c:v>
                </c:pt>
                <c:pt idx="8">
                  <c:v>0.382894697323013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A13-4728-9758-9806550BD491}"/>
            </c:ext>
          </c:extLst>
        </c:ser>
        <c:ser>
          <c:idx val="7"/>
          <c:order val="4"/>
          <c:tx>
            <c:strRef>
              <c:f>'2025'!$A$10</c:f>
              <c:strCache>
                <c:ptCount val="1"/>
                <c:pt idx="0">
                  <c:v>Photovoltaik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10:$M$10</c:f>
              <c:numCache>
                <c:formatCode>#,##0.000</c:formatCode>
                <c:ptCount val="12"/>
                <c:pt idx="0">
                  <c:v>2.0241928763187604</c:v>
                </c:pt>
                <c:pt idx="1">
                  <c:v>3.5970521002346936</c:v>
                </c:pt>
                <c:pt idx="2">
                  <c:v>7.8621990349924147</c:v>
                </c:pt>
                <c:pt idx="3">
                  <c:v>10.285542809600951</c:v>
                </c:pt>
                <c:pt idx="4">
                  <c:v>11.754948730588801</c:v>
                </c:pt>
                <c:pt idx="5">
                  <c:v>12.284708812364684</c:v>
                </c:pt>
                <c:pt idx="6">
                  <c:v>10.816251045508318</c:v>
                </c:pt>
                <c:pt idx="7">
                  <c:v>11.82675514771211</c:v>
                </c:pt>
                <c:pt idx="8">
                  <c:v>7.97291475469401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A13-4728-9758-9806550BD491}"/>
            </c:ext>
          </c:extLst>
        </c:ser>
        <c:ser>
          <c:idx val="6"/>
          <c:order val="5"/>
          <c:tx>
            <c:strRef>
              <c:f>'2025'!$A$9</c:f>
              <c:strCache>
                <c:ptCount val="1"/>
                <c:pt idx="0">
                  <c:v>Wind auf See</c:v>
                </c:pt>
              </c:strCache>
            </c:strRef>
          </c:tx>
          <c:spPr>
            <a:solidFill>
              <a:srgbClr val="00AFD8"/>
            </a:solidFill>
            <a:ln w="9525"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9:$M$9</c:f>
              <c:numCache>
                <c:formatCode>#,##0.000</c:formatCode>
                <c:ptCount val="12"/>
                <c:pt idx="0">
                  <c:v>2.5855000000000001</c:v>
                </c:pt>
                <c:pt idx="1">
                  <c:v>2.2976999999999999</c:v>
                </c:pt>
                <c:pt idx="2">
                  <c:v>1.919</c:v>
                </c:pt>
                <c:pt idx="3">
                  <c:v>1.0957999999999999</c:v>
                </c:pt>
                <c:pt idx="4">
                  <c:v>1.8851</c:v>
                </c:pt>
                <c:pt idx="5">
                  <c:v>1.8782000000000001</c:v>
                </c:pt>
                <c:pt idx="6">
                  <c:v>1.5848</c:v>
                </c:pt>
                <c:pt idx="7">
                  <c:v>1.7261</c:v>
                </c:pt>
                <c:pt idx="8">
                  <c:v>2.4491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A13-4728-9758-9806550BD491}"/>
            </c:ext>
          </c:extLst>
        </c:ser>
        <c:ser>
          <c:idx val="5"/>
          <c:order val="6"/>
          <c:tx>
            <c:strRef>
              <c:f>'2025'!$A$8</c:f>
              <c:strCache>
                <c:ptCount val="1"/>
                <c:pt idx="0">
                  <c:v>Wind an Land</c:v>
                </c:pt>
              </c:strCache>
            </c:strRef>
          </c:tx>
          <c:spPr>
            <a:solidFill>
              <a:srgbClr val="84CFE7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8:$M$8</c:f>
              <c:numCache>
                <c:formatCode>#,##0.000</c:formatCode>
                <c:ptCount val="12"/>
                <c:pt idx="0">
                  <c:v>13.084200000000001</c:v>
                </c:pt>
                <c:pt idx="1">
                  <c:v>7.2403999999999993</c:v>
                </c:pt>
                <c:pt idx="2">
                  <c:v>6.5042999999999997</c:v>
                </c:pt>
                <c:pt idx="3">
                  <c:v>5.9098000000000006</c:v>
                </c:pt>
                <c:pt idx="4">
                  <c:v>7.9344999999999999</c:v>
                </c:pt>
                <c:pt idx="5">
                  <c:v>8.7174999999999994</c:v>
                </c:pt>
                <c:pt idx="6">
                  <c:v>6.2907000000000002</c:v>
                </c:pt>
                <c:pt idx="7">
                  <c:v>5.4874999999999998</c:v>
                </c:pt>
                <c:pt idx="8">
                  <c:v>9.7515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A13-4728-9758-9806550BD491}"/>
            </c:ext>
          </c:extLst>
        </c:ser>
        <c:ser>
          <c:idx val="10"/>
          <c:order val="7"/>
          <c:tx>
            <c:strRef>
              <c:f>'2025'!$A$13</c:f>
              <c:strCache>
                <c:ptCount val="1"/>
                <c:pt idx="0">
                  <c:v>Geothermie</c:v>
                </c:pt>
              </c:strCache>
            </c:strRef>
          </c:tx>
          <c:spPr>
            <a:solidFill>
              <a:srgbClr val="C20000"/>
            </a:solidFill>
            <a:ln>
              <a:noFill/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13:$M$13</c:f>
              <c:numCache>
                <c:formatCode>#,##0.000</c:formatCode>
                <c:ptCount val="12"/>
                <c:pt idx="0">
                  <c:v>2.3864999999999997E-2</c:v>
                </c:pt>
                <c:pt idx="1">
                  <c:v>2.1402999999999998E-2</c:v>
                </c:pt>
                <c:pt idx="2">
                  <c:v>2.2321000000000001E-2</c:v>
                </c:pt>
                <c:pt idx="3">
                  <c:v>2.0146000000000001E-2</c:v>
                </c:pt>
                <c:pt idx="4">
                  <c:v>1.6847999999999998E-2</c:v>
                </c:pt>
                <c:pt idx="5">
                  <c:v>1.3317000000000001E-2</c:v>
                </c:pt>
                <c:pt idx="6">
                  <c:v>1.2183999999999999E-2</c:v>
                </c:pt>
                <c:pt idx="7">
                  <c:v>1.4087000000000001E-2</c:v>
                </c:pt>
                <c:pt idx="8">
                  <c:v>1.643808923866315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A13-4728-9758-9806550BD4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32680192"/>
        <c:axId val="32776192"/>
      </c:barChart>
      <c:lineChart>
        <c:grouping val="standard"/>
        <c:varyColors val="0"/>
        <c:ser>
          <c:idx val="1"/>
          <c:order val="0"/>
          <c:tx>
            <c:strRef>
              <c:f>'2025'!$A$17</c:f>
              <c:strCache>
                <c:ptCount val="1"/>
                <c:pt idx="0">
                  <c:v>Vorjahr gesamt</c:v>
                </c:pt>
              </c:strCache>
            </c:strRef>
          </c:tx>
          <c:spPr>
            <a:ln w="31750">
              <a:solidFill>
                <a:srgbClr val="002060"/>
              </a:solidFill>
            </a:ln>
          </c:spPr>
          <c:marker>
            <c:symbol val="circle"/>
            <c:size val="7"/>
            <c:spPr>
              <a:solidFill>
                <a:srgbClr val="002060"/>
              </a:solidFill>
              <a:ln w="19050">
                <a:solidFill>
                  <a:srgbClr val="002060"/>
                </a:solidFill>
              </a:ln>
            </c:spPr>
          </c:marker>
          <c:dLbls>
            <c:dLbl>
              <c:idx val="0"/>
              <c:layout>
                <c:manualLayout>
                  <c:x val="-4.1472630018403574E-2"/>
                  <c:y val="-4.504790797630423E-2"/>
                </c:manualLayout>
              </c:layout>
              <c:tx>
                <c:rich>
                  <a:bodyPr/>
                  <a:lstStyle/>
                  <a:p>
                    <a:fld id="{C390019B-C6F3-4B30-A080-55FAD0F0BD02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DA13-4728-9758-9806550BD491}"/>
                </c:ext>
              </c:extLst>
            </c:dLbl>
            <c:dLbl>
              <c:idx val="1"/>
              <c:layout>
                <c:manualLayout>
                  <c:x val="-3.519379855925505E-2"/>
                  <c:y val="-4.6245505616605447E-2"/>
                </c:manualLayout>
              </c:layout>
              <c:tx>
                <c:rich>
                  <a:bodyPr/>
                  <a:lstStyle/>
                  <a:p>
                    <a:fld id="{3F0F550F-9A75-4935-B43D-960793356D33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DA13-4728-9758-9806550BD491}"/>
                </c:ext>
              </c:extLst>
            </c:dLbl>
            <c:dLbl>
              <c:idx val="2"/>
              <c:layout>
                <c:manualLayout>
                  <c:x val="-3.2228176018967943E-2"/>
                  <c:y val="-5.2817773836141675E-2"/>
                </c:manualLayout>
              </c:layout>
              <c:tx>
                <c:rich>
                  <a:bodyPr/>
                  <a:lstStyle/>
                  <a:p>
                    <a:fld id="{57A224F9-93E5-4673-8C9B-4F454F7523DA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DA13-4728-9758-9806550BD491}"/>
                </c:ext>
              </c:extLst>
            </c:dLbl>
            <c:dLbl>
              <c:idx val="3"/>
              <c:layout>
                <c:manualLayout>
                  <c:x val="-3.4067472539025971E-2"/>
                  <c:y val="-5.0522717583246335E-2"/>
                </c:manualLayout>
              </c:layout>
              <c:tx>
                <c:rich>
                  <a:bodyPr/>
                  <a:lstStyle/>
                  <a:p>
                    <a:fld id="{61F0C30F-68D1-43C8-9883-81FE48DB4752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DA13-4728-9758-9806550BD491}"/>
                </c:ext>
              </c:extLst>
            </c:dLbl>
            <c:dLbl>
              <c:idx val="4"/>
              <c:layout>
                <c:manualLayout>
                  <c:x val="-3.67188647350341E-2"/>
                  <c:y val="-8.3836448272221836E-2"/>
                </c:manualLayout>
              </c:layout>
              <c:tx>
                <c:rich>
                  <a:bodyPr/>
                  <a:lstStyle/>
                  <a:p>
                    <a:fld id="{8ED42157-AE91-4143-921D-DB3B890766C3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DA13-4728-9758-9806550BD491}"/>
                </c:ext>
              </c:extLst>
            </c:dLbl>
            <c:dLbl>
              <c:idx val="5"/>
              <c:layout>
                <c:manualLayout>
                  <c:x val="-3.5162092646797788E-2"/>
                  <c:y val="-0.11485512270830207"/>
                </c:manualLayout>
              </c:layout>
              <c:tx>
                <c:rich>
                  <a:bodyPr/>
                  <a:lstStyle/>
                  <a:p>
                    <a:fld id="{52CAD52E-5785-4460-ABED-C8185BB81A00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DA13-4728-9758-9806550BD491}"/>
                </c:ext>
              </c:extLst>
            </c:dLbl>
            <c:dLbl>
              <c:idx val="6"/>
              <c:layout>
                <c:manualLayout>
                  <c:x val="-3.0731279780279151E-2"/>
                  <c:y val="-5.6264293217928307E-2"/>
                </c:manualLayout>
              </c:layout>
              <c:tx>
                <c:rich>
                  <a:bodyPr/>
                  <a:lstStyle/>
                  <a:p>
                    <a:fld id="{EEEB41FC-329C-4C20-B6BC-D64F2EC12FBF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DA13-4728-9758-9806550BD491}"/>
                </c:ext>
              </c:extLst>
            </c:dLbl>
            <c:dLbl>
              <c:idx val="7"/>
              <c:layout>
                <c:manualLayout>
                  <c:x val="-4.1149677601552623E-2"/>
                  <c:y val="-7.6943409508648461E-2"/>
                </c:manualLayout>
              </c:layout>
              <c:tx>
                <c:rich>
                  <a:bodyPr/>
                  <a:lstStyle/>
                  <a:p>
                    <a:fld id="{EC0EC7F3-512C-4E5E-8D29-BC1AA4383B13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DA13-4728-9758-9806550BD491}"/>
                </c:ext>
              </c:extLst>
            </c:dLbl>
            <c:dLbl>
              <c:idx val="8"/>
              <c:layout>
                <c:manualLayout>
                  <c:x val="-3.5221968496345332E-2"/>
                  <c:y val="-8.3836448272221906E-2"/>
                </c:manualLayout>
              </c:layout>
              <c:tx>
                <c:rich>
                  <a:bodyPr/>
                  <a:lstStyle/>
                  <a:p>
                    <a:fld id="{A68D3AA7-2A37-4211-817E-FDF2260485BE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DA13-4728-9758-9806550BD491}"/>
                </c:ext>
              </c:extLst>
            </c:dLbl>
            <c:dLbl>
              <c:idx val="9"/>
              <c:layout>
                <c:manualLayout>
                  <c:x val="-3.9712657212411462E-2"/>
                  <c:y val="-0.13898075838080898"/>
                </c:manualLayout>
              </c:layout>
              <c:tx>
                <c:rich>
                  <a:bodyPr/>
                  <a:lstStyle/>
                  <a:p>
                    <a:fld id="{A96B1D3C-9A70-499E-9B66-8221D665AED6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DA13-4728-9758-9806550BD491}"/>
                </c:ext>
              </c:extLst>
            </c:dLbl>
            <c:dLbl>
              <c:idx val="10"/>
              <c:layout>
                <c:manualLayout>
                  <c:x val="-3.9712657212411573E-2"/>
                  <c:y val="-5.9710812599715057E-2"/>
                </c:manualLayout>
              </c:layout>
              <c:tx>
                <c:rich>
                  <a:bodyPr/>
                  <a:lstStyle/>
                  <a:p>
                    <a:fld id="{7FD95155-F6AF-4D43-B6C5-A82A12B5A951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DA13-4728-9758-9806550BD491}"/>
                </c:ext>
              </c:extLst>
            </c:dLbl>
            <c:dLbl>
              <c:idx val="11"/>
              <c:layout>
                <c:manualLayout>
                  <c:x val="-3.8215760973722861E-2"/>
                  <c:y val="-5.6264293217928307E-2"/>
                </c:manualLayout>
              </c:layout>
              <c:tx>
                <c:rich>
                  <a:bodyPr/>
                  <a:lstStyle/>
                  <a:p>
                    <a:fld id="{DEBE0E35-79E7-43C5-90B3-39AFC6EA8644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DA13-4728-9758-9806550BD49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de-DE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17:$M$17</c:f>
              <c:numCache>
                <c:formatCode>#,##0.000</c:formatCode>
                <c:ptCount val="12"/>
                <c:pt idx="0">
                  <c:v>26.770397906279765</c:v>
                </c:pt>
                <c:pt idx="1">
                  <c:v>25.488515156308413</c:v>
                </c:pt>
                <c:pt idx="2">
                  <c:v>23.450661884065148</c:v>
                </c:pt>
                <c:pt idx="3">
                  <c:v>24.821140650909822</c:v>
                </c:pt>
                <c:pt idx="4">
                  <c:v>23.604863715818166</c:v>
                </c:pt>
                <c:pt idx="5">
                  <c:v>22.943355122595971</c:v>
                </c:pt>
                <c:pt idx="6">
                  <c:v>23.59966646229514</c:v>
                </c:pt>
                <c:pt idx="7">
                  <c:v>22.268981142563014</c:v>
                </c:pt>
                <c:pt idx="8">
                  <c:v>23.341332148392588</c:v>
                </c:pt>
                <c:pt idx="9">
                  <c:v>20.756704697726768</c:v>
                </c:pt>
                <c:pt idx="10">
                  <c:v>19.8288891912464</c:v>
                </c:pt>
                <c:pt idx="11">
                  <c:v>23.522947021685919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'2025'!$B$18:$M$18</c15:f>
                <c15:dlblRangeCache>
                  <c:ptCount val="12"/>
                  <c:pt idx="0">
                    <c:v>-11,3%</c:v>
                  </c:pt>
                  <c:pt idx="1">
                    <c:v>-27,6%</c:v>
                  </c:pt>
                  <c:pt idx="2">
                    <c:v>-7,6%</c:v>
                  </c:pt>
                  <c:pt idx="3">
                    <c:v>-9,4%</c:v>
                  </c:pt>
                  <c:pt idx="4">
                    <c:v>+13,8%</c:v>
                  </c:pt>
                  <c:pt idx="5">
                    <c:v>+22,3%</c:v>
                  </c:pt>
                  <c:pt idx="6">
                    <c:v>+1,7%</c:v>
                  </c:pt>
                  <c:pt idx="7">
                    <c:v>+9,6%</c:v>
                  </c:pt>
                  <c:pt idx="8">
                    <c:v>+8,9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3-DA13-4728-9758-9806550BD4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680192"/>
        <c:axId val="32776192"/>
      </c:lineChart>
      <c:catAx>
        <c:axId val="3268019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525">
            <a:solidFill>
              <a:srgbClr val="B5C0C9"/>
            </a:solidFill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32776192"/>
        <c:crosses val="autoZero"/>
        <c:auto val="1"/>
        <c:lblAlgn val="ctr"/>
        <c:lblOffset val="100"/>
        <c:noMultiLvlLbl val="0"/>
      </c:catAx>
      <c:valAx>
        <c:axId val="32776192"/>
        <c:scaling>
          <c:orientation val="minMax"/>
          <c:max val="40"/>
          <c:min val="0"/>
        </c:scaling>
        <c:delete val="0"/>
        <c:axPos val="l"/>
        <c:majorGridlines>
          <c:spPr>
            <a:ln w="9525">
              <a:solidFill>
                <a:srgbClr val="B5C0C9"/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400" b="1"/>
                </a:pPr>
                <a:r>
                  <a:rPr lang="de-DE" sz="1400" b="1"/>
                  <a:t>in Mrd. kWh</a:t>
                </a:r>
              </a:p>
            </c:rich>
          </c:tx>
          <c:layout>
            <c:manualLayout>
              <c:xMode val="edge"/>
              <c:yMode val="edge"/>
              <c:x val="0"/>
              <c:y val="0.33304528601449745"/>
            </c:manualLayout>
          </c:layout>
          <c:overlay val="0"/>
        </c:title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32680192"/>
        <c:crosses val="autoZero"/>
        <c:crossBetween val="between"/>
        <c:majorUnit val="5"/>
      </c:valAx>
    </c:plotArea>
    <c:legend>
      <c:legendPos val="r"/>
      <c:layout>
        <c:manualLayout>
          <c:xMode val="edge"/>
          <c:yMode val="edge"/>
          <c:x val="0.80812041457661066"/>
          <c:y val="0.17265949446887915"/>
          <c:w val="0.19033129967603393"/>
          <c:h val="0.49706353834876993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de-DE" sz="1600" b="0" dirty="0">
                <a:solidFill>
                  <a:schemeClr val="bg2"/>
                </a:solidFill>
                <a:effectLst/>
              </a:rPr>
              <a:t>Bruttostromerzeugung 2025 bisher</a:t>
            </a:r>
            <a:r>
              <a:rPr lang="de-DE" sz="1600" b="0">
                <a:solidFill>
                  <a:schemeClr val="bg2"/>
                </a:solidFill>
                <a:effectLst/>
              </a:rPr>
              <a:t>: 151 </a:t>
            </a:r>
            <a:r>
              <a:rPr lang="de-DE" sz="1600" b="0" dirty="0">
                <a:solidFill>
                  <a:schemeClr val="bg2"/>
                </a:solidFill>
                <a:effectLst/>
              </a:rPr>
              <a:t>Mrd. kWh* </a:t>
            </a:r>
            <a:br>
              <a:rPr lang="de-DE" sz="1600" b="0" dirty="0">
                <a:solidFill>
                  <a:schemeClr val="bg2"/>
                </a:solidFill>
                <a:effectLst/>
              </a:rPr>
            </a:br>
            <a:r>
              <a:rPr lang="de-DE" sz="1600" b="0" dirty="0">
                <a:solidFill>
                  <a:schemeClr val="bg2"/>
                </a:solidFill>
                <a:effectLst/>
              </a:rPr>
              <a:t>(Veränderung zum Vorjahreszeitraum</a:t>
            </a:r>
            <a:r>
              <a:rPr lang="de-DE" sz="1600" b="0" baseline="0" dirty="0">
                <a:solidFill>
                  <a:schemeClr val="bg2"/>
                </a:solidFill>
                <a:effectLst/>
              </a:rPr>
              <a:t> gesamt</a:t>
            </a:r>
            <a:r>
              <a:rPr lang="de-DE" sz="1600" b="0">
                <a:solidFill>
                  <a:schemeClr val="bg2"/>
                </a:solidFill>
                <a:effectLst/>
              </a:rPr>
              <a:t>: +3,7 </a:t>
            </a:r>
            <a:r>
              <a:rPr lang="de-DE" sz="1600" b="0" dirty="0">
                <a:solidFill>
                  <a:schemeClr val="bg2"/>
                </a:solidFill>
                <a:effectLst/>
              </a:rPr>
              <a:t>%)</a:t>
            </a:r>
          </a:p>
        </c:rich>
      </c:tx>
      <c:layout>
        <c:manualLayout>
          <c:xMode val="edge"/>
          <c:yMode val="edge"/>
          <c:x val="8.0976187517047915E-4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8.4778622096255127E-2"/>
          <c:y val="0.1879325049296883"/>
          <c:w val="0.71236049531101353"/>
          <c:h val="0.7063145548698837"/>
        </c:manualLayout>
      </c:layout>
      <c:barChart>
        <c:barDir val="col"/>
        <c:grouping val="stacked"/>
        <c:varyColors val="0"/>
        <c:ser>
          <c:idx val="5"/>
          <c:order val="1"/>
          <c:tx>
            <c:strRef>
              <c:f>'2025'!$A$3</c:f>
              <c:strCache>
                <c:ptCount val="1"/>
                <c:pt idx="0">
                  <c:v>Braunkohle</c:v>
                </c:pt>
              </c:strCache>
            </c:strRef>
          </c:tx>
          <c:spPr>
            <a:solidFill>
              <a:srgbClr val="8C3725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3:$M$3</c:f>
              <c:numCache>
                <c:formatCode>#,##0.000</c:formatCode>
                <c:ptCount val="12"/>
                <c:pt idx="0">
                  <c:v>7.5696909999999997</c:v>
                </c:pt>
                <c:pt idx="1">
                  <c:v>7.8354160000000004</c:v>
                </c:pt>
                <c:pt idx="2">
                  <c:v>8.0405748199999998</c:v>
                </c:pt>
                <c:pt idx="3">
                  <c:v>5.879429</c:v>
                </c:pt>
                <c:pt idx="4">
                  <c:v>4.603618</c:v>
                </c:pt>
                <c:pt idx="5">
                  <c:v>4.0737406959999998</c:v>
                </c:pt>
                <c:pt idx="6">
                  <c:v>6.3181683139999993</c:v>
                </c:pt>
                <c:pt idx="7">
                  <c:v>5.0409095079999995</c:v>
                </c:pt>
                <c:pt idx="8">
                  <c:v>5.23923376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EE9-4065-A3A1-DEFD10CDA204}"/>
            </c:ext>
          </c:extLst>
        </c:ser>
        <c:ser>
          <c:idx val="6"/>
          <c:order val="2"/>
          <c:tx>
            <c:strRef>
              <c:f>'2025'!$A$4</c:f>
              <c:strCache>
                <c:ptCount val="1"/>
                <c:pt idx="0">
                  <c:v>Steinkohle</c:v>
                </c:pt>
              </c:strCache>
            </c:strRef>
          </c:tx>
          <c:spPr>
            <a:solidFill>
              <a:srgbClr val="333333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4:$M$4</c:f>
              <c:numCache>
                <c:formatCode>#,##0.000</c:formatCode>
                <c:ptCount val="12"/>
                <c:pt idx="0">
                  <c:v>3.8276783311617808</c:v>
                </c:pt>
                <c:pt idx="1">
                  <c:v>4.4690259287457295</c:v>
                </c:pt>
                <c:pt idx="2">
                  <c:v>3.0409419906265418</c:v>
                </c:pt>
                <c:pt idx="3">
                  <c:v>2.4723385392015391</c:v>
                </c:pt>
                <c:pt idx="4">
                  <c:v>0.92865777275234429</c:v>
                </c:pt>
                <c:pt idx="5">
                  <c:v>1.3484230552712384</c:v>
                </c:pt>
                <c:pt idx="6">
                  <c:v>2.0253672892561982</c:v>
                </c:pt>
                <c:pt idx="7">
                  <c:v>1.3910602690739664</c:v>
                </c:pt>
                <c:pt idx="8">
                  <c:v>1.48915790944648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EE9-4065-A3A1-DEFD10CDA204}"/>
            </c:ext>
          </c:extLst>
        </c:ser>
        <c:ser>
          <c:idx val="7"/>
          <c:order val="3"/>
          <c:tx>
            <c:strRef>
              <c:f>'2025'!$A$5</c:f>
              <c:strCache>
                <c:ptCount val="1"/>
                <c:pt idx="0">
                  <c:v>Erdgas</c:v>
                </c:pt>
              </c:strCache>
            </c:strRef>
          </c:tx>
          <c:spPr>
            <a:solidFill>
              <a:srgbClr val="46AA28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5:$M$5</c:f>
              <c:numCache>
                <c:formatCode>#,##0.000</c:formatCode>
                <c:ptCount val="12"/>
                <c:pt idx="0">
                  <c:v>10.219609645613735</c:v>
                </c:pt>
                <c:pt idx="1">
                  <c:v>9.9347366330715996</c:v>
                </c:pt>
                <c:pt idx="2">
                  <c:v>8.2122316666666659</c:v>
                </c:pt>
                <c:pt idx="3">
                  <c:v>6.1036746639213071</c:v>
                </c:pt>
                <c:pt idx="4">
                  <c:v>5.2495507646362602</c:v>
                </c:pt>
                <c:pt idx="5">
                  <c:v>4.4966035497165642</c:v>
                </c:pt>
                <c:pt idx="6">
                  <c:v>5.3027694594309738</c:v>
                </c:pt>
                <c:pt idx="7">
                  <c:v>4.9095377281748975</c:v>
                </c:pt>
                <c:pt idx="8">
                  <c:v>5.6255360698513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EE9-4065-A3A1-DEFD10CDA204}"/>
            </c:ext>
          </c:extLst>
        </c:ser>
        <c:ser>
          <c:idx val="0"/>
          <c:order val="4"/>
          <c:tx>
            <c:strRef>
              <c:f>'2025'!$A$6</c:f>
              <c:strCache>
                <c:ptCount val="1"/>
                <c:pt idx="0">
                  <c:v>Mineralölprodukte</c:v>
                </c:pt>
              </c:strCache>
            </c:strRef>
          </c:tx>
          <c:spPr>
            <a:solidFill>
              <a:srgbClr val="477390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6:$M$6</c:f>
              <c:numCache>
                <c:formatCode>#,##0.000</c:formatCode>
                <c:ptCount val="12"/>
                <c:pt idx="0">
                  <c:v>0.40418073497688745</c:v>
                </c:pt>
                <c:pt idx="1">
                  <c:v>0.36356460750853248</c:v>
                </c:pt>
                <c:pt idx="2">
                  <c:v>0.3805675508720931</c:v>
                </c:pt>
                <c:pt idx="3">
                  <c:v>0.34022585866261396</c:v>
                </c:pt>
                <c:pt idx="4">
                  <c:v>0.33139596565032797</c:v>
                </c:pt>
                <c:pt idx="5">
                  <c:v>0.33320269230769228</c:v>
                </c:pt>
                <c:pt idx="6">
                  <c:v>0.32732744355758264</c:v>
                </c:pt>
                <c:pt idx="7">
                  <c:v>0.29279411253620186</c:v>
                </c:pt>
                <c:pt idx="8">
                  <c:v>0.29430946636663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E9-4065-A3A1-DEFD10CDA204}"/>
            </c:ext>
          </c:extLst>
        </c:ser>
        <c:ser>
          <c:idx val="8"/>
          <c:order val="5"/>
          <c:tx>
            <c:strRef>
              <c:f>'2025'!$A$14</c:f>
              <c:strCache>
                <c:ptCount val="1"/>
                <c:pt idx="0">
                  <c:v>Sonst. konv. Energietr.</c:v>
                </c:pt>
              </c:strCache>
            </c:strRef>
          </c:tx>
          <c:spPr>
            <a:solidFill>
              <a:srgbClr val="B5C0C9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14:$M$14</c:f>
              <c:numCache>
                <c:formatCode>#,##0.000</c:formatCode>
                <c:ptCount val="12"/>
                <c:pt idx="0">
                  <c:v>1.357710812687408</c:v>
                </c:pt>
                <c:pt idx="1">
                  <c:v>1.3087652969125756</c:v>
                </c:pt>
                <c:pt idx="2">
                  <c:v>1.5649143979062023</c:v>
                </c:pt>
                <c:pt idx="3">
                  <c:v>1.4026623837594989</c:v>
                </c:pt>
                <c:pt idx="4">
                  <c:v>1.392808792853186</c:v>
                </c:pt>
                <c:pt idx="5">
                  <c:v>1.3632459790836073</c:v>
                </c:pt>
                <c:pt idx="6">
                  <c:v>1.3737387091802367</c:v>
                </c:pt>
                <c:pt idx="7">
                  <c:v>1.3534385815781005</c:v>
                </c:pt>
                <c:pt idx="8">
                  <c:v>1.25208826553854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EE9-4065-A3A1-DEFD10CDA2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97559680"/>
        <c:axId val="97561216"/>
      </c:barChart>
      <c:lineChart>
        <c:grouping val="standard"/>
        <c:varyColors val="0"/>
        <c:ser>
          <c:idx val="1"/>
          <c:order val="0"/>
          <c:tx>
            <c:strRef>
              <c:f>'2025'!$A$17</c:f>
              <c:strCache>
                <c:ptCount val="1"/>
                <c:pt idx="0">
                  <c:v>Vorjahr insgesamt</c:v>
                </c:pt>
              </c:strCache>
            </c:strRef>
          </c:tx>
          <c:spPr>
            <a:ln w="31750">
              <a:solidFill>
                <a:srgbClr val="002060"/>
              </a:solidFill>
            </a:ln>
          </c:spPr>
          <c:marker>
            <c:symbol val="circle"/>
            <c:size val="7"/>
            <c:spPr>
              <a:solidFill>
                <a:srgbClr val="002060"/>
              </a:solidFill>
              <a:ln w="19050">
                <a:solidFill>
                  <a:srgbClr val="002060"/>
                </a:solidFill>
              </a:ln>
            </c:spPr>
          </c:marker>
          <c:dLbls>
            <c:dLbl>
              <c:idx val="0"/>
              <c:layout>
                <c:manualLayout>
                  <c:x val="-3.9188645111543283E-2"/>
                  <c:y val="-5.3799121007287155E-2"/>
                </c:manualLayout>
              </c:layout>
              <c:tx>
                <c:rich>
                  <a:bodyPr wrap="square" lIns="38100" tIns="19050" rIns="38100" bIns="19050" anchor="ctr" anchorCtr="0">
                    <a:spAutoFit/>
                  </a:bodyPr>
                  <a:lstStyle/>
                  <a:p>
                    <a:pPr algn="ctr">
                      <a:defRPr lang="en-US" sz="12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328CA08-4D3A-4CE3-90C5-172E70E5D827}" type="CELLRANGE">
                      <a:rPr lang="en-US"/>
                      <a:pPr algn="ctr">
                        <a:defRPr lang="en-US" sz="12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ZELLBEREICH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7EE9-4065-A3A1-DEFD10CDA204}"/>
                </c:ext>
              </c:extLst>
            </c:dLbl>
            <c:dLbl>
              <c:idx val="1"/>
              <c:layout>
                <c:manualLayout>
                  <c:x val="-3.565304029304029E-2"/>
                  <c:y val="-0.1258459299711415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200" b="1"/>
                    </a:pPr>
                    <a:fld id="{565AB2D8-3E08-4595-825C-E6E9FB08A6A0}" type="CELLREF">
                      <a:rPr lang="en-US" sz="1200" b="1" smtClean="0"/>
                      <a:pPr>
                        <a:defRPr sz="1200" b="1"/>
                      </a:pPr>
                      <a:t>[ZELLBEZ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565AB2D8-3E08-4595-825C-E6E9FB08A6A0}</c15:txfldGUID>
                      <c15:f>'2025'!$C$18</c15:f>
                      <c15:dlblFieldTableCache>
                        <c:ptCount val="1"/>
                        <c:pt idx="0">
                          <c:v>+30,1%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7-7EE9-4065-A3A1-DEFD10CDA204}"/>
                </c:ext>
              </c:extLst>
            </c:dLbl>
            <c:dLbl>
              <c:idx val="2"/>
              <c:layout>
                <c:manualLayout>
                  <c:x val="-3.4895423565964839E-2"/>
                  <c:y val="-6.5065983597104096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200" b="1"/>
                    </a:pPr>
                    <a:fld id="{B539C104-9D63-418B-ADCA-1AC8B9F93311}" type="CELLRANGE">
                      <a:rPr lang="en-US"/>
                      <a:pPr>
                        <a:defRPr sz="1200" b="1"/>
                      </a:pPr>
                      <a:t>[ZELLBEREICH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7EE9-4065-A3A1-DEFD10CDA204}"/>
                </c:ext>
              </c:extLst>
            </c:dLbl>
            <c:dLbl>
              <c:idx val="3"/>
              <c:layout>
                <c:manualLayout>
                  <c:x val="-4.457005672437829E-2"/>
                  <c:y val="-6.5065983597104096E-2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1200" b="1"/>
                    </a:pPr>
                    <a:fld id="{AEA2F254-26EE-40D9-97DE-609447974136}" type="CELLREF">
                      <a:rPr lang="en-US" sz="1200" b="1" smtClean="0"/>
                      <a:pPr>
                        <a:defRPr sz="1200" b="1"/>
                      </a:pPr>
                      <a:t>[ZELLBEZ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1712277539817843E-2"/>
                      <c:h val="6.6286708236756711E-2"/>
                    </c:manualLayout>
                  </c15:layout>
                  <c15:dlblFieldTable>
                    <c15:dlblFTEntry>
                      <c15:txfldGUID>{AEA2F254-26EE-40D9-97DE-609447974136}</c15:txfldGUID>
                      <c15:f>'2025'!$E$18</c15:f>
                      <c15:dlblFieldTableCache>
                        <c:ptCount val="1"/>
                        <c:pt idx="0">
                          <c:v>+10,0%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9-7EE9-4065-A3A1-DEFD10CDA204}"/>
                </c:ext>
              </c:extLst>
            </c:dLbl>
            <c:dLbl>
              <c:idx val="4"/>
              <c:layout>
                <c:manualLayout>
                  <c:x val="-3.0275382387158968E-2"/>
                  <c:y val="-5.7554741870559492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200" b="1"/>
                    </a:pPr>
                    <a:fld id="{CCA5E7FB-869B-426A-BFA9-9364F9F70845}" type="CELLRANGE">
                      <a:rPr lang="en-US"/>
                      <a:pPr>
                        <a:defRPr sz="1200" b="1"/>
                      </a:pPr>
                      <a:t>[ZELLBEREICH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7EE9-4065-A3A1-DEFD10CDA204}"/>
                </c:ext>
              </c:extLst>
            </c:dLbl>
            <c:dLbl>
              <c:idx val="5"/>
              <c:layout>
                <c:manualLayout>
                  <c:x val="-3.621755753674849E-2"/>
                  <c:y val="-5.7554741870559423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200" b="1"/>
                    </a:pPr>
                    <a:fld id="{A21EFC88-4BE5-46B8-9BA4-880788BEE024}" type="CELLRANGE">
                      <a:rPr lang="en-US"/>
                      <a:pPr>
                        <a:defRPr sz="1200" b="1"/>
                      </a:pPr>
                      <a:t>[ZELLBEREICH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7EE9-4065-A3A1-DEFD10CDA204}"/>
                </c:ext>
              </c:extLst>
            </c:dLbl>
            <c:dLbl>
              <c:idx val="6"/>
              <c:layout>
                <c:manualLayout>
                  <c:x val="-3.7703101324145942E-2"/>
                  <c:y val="-6.5065983597104235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200" b="1"/>
                    </a:pPr>
                    <a:fld id="{A88F2400-FF10-4A27-8826-A7BB26E29DBD}" type="CELLRANGE">
                      <a:rPr lang="en-US"/>
                      <a:pPr>
                        <a:defRPr sz="1200" b="1"/>
                      </a:pPr>
                      <a:t>[ZELLBEREICH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7EE9-4065-A3A1-DEFD10CDA204}"/>
                </c:ext>
              </c:extLst>
            </c:dLbl>
            <c:dLbl>
              <c:idx val="7"/>
              <c:layout>
                <c:manualLayout>
                  <c:x val="-3.7863384615384618E-2"/>
                  <c:y val="-5.4890275041353069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200" b="1"/>
                    </a:pPr>
                    <a:fld id="{C91F3E89-C003-48A2-8FE1-97177E5DF9E6}" type="CELLRANGE">
                      <a:rPr lang="en-US"/>
                      <a:pPr>
                        <a:defRPr sz="1200" b="1"/>
                      </a:pPr>
                      <a:t>[ZELLBEREICH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7EE9-4065-A3A1-DEFD10CDA204}"/>
                </c:ext>
              </c:extLst>
            </c:dLbl>
            <c:dLbl>
              <c:idx val="8"/>
              <c:layout>
                <c:manualLayout>
                  <c:x val="-3.9194842490842603E-2"/>
                  <c:y val="-3.9944354062943742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200" b="1"/>
                    </a:pPr>
                    <a:fld id="{6FEF0DDE-2FE2-4B50-B8CB-82428BFF641F}" type="CELLRANGE">
                      <a:rPr lang="en-US"/>
                      <a:pPr>
                        <a:defRPr sz="1200" b="1"/>
                      </a:pPr>
                      <a:t>[ZELLBEREICH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7EE9-4065-A3A1-DEFD10CDA204}"/>
                </c:ext>
              </c:extLst>
            </c:dLbl>
            <c:dLbl>
              <c:idx val="9"/>
              <c:layout>
                <c:manualLayout>
                  <c:x val="-3.770315018315018E-2"/>
                  <c:y val="-6.3439093314584846E-2"/>
                </c:manualLayout>
              </c:layout>
              <c:tx>
                <c:rich>
                  <a:bodyPr wrap="square" lIns="38100" tIns="19050" rIns="38100" bIns="19050" anchor="ctr" anchorCtr="0">
                    <a:spAutoFit/>
                  </a:bodyPr>
                  <a:lstStyle/>
                  <a:p>
                    <a:pPr algn="ctr">
                      <a:defRPr lang="en-US" sz="12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D3675D-4E1C-4F7E-BA7B-D0B734C1E7AD}" type="CELLRANGE">
                      <a:rPr lang="en-US" sz="12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rPr>
                      <a:pPr algn="ctr">
                        <a:defRPr lang="en-US" sz="12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ZELLBEREICH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7EE9-4065-A3A1-DEFD10CDA204}"/>
                </c:ext>
              </c:extLst>
            </c:dLbl>
            <c:dLbl>
              <c:idx val="10"/>
              <c:layout>
                <c:manualLayout>
                  <c:x val="-3.7699985347985458E-2"/>
                  <c:y val="-4.7532040014933448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200" b="1"/>
                    </a:pPr>
                    <a:fld id="{3AB0791E-5A42-41BF-BA76-D148BC001DB8}" type="CELLRANGE">
                      <a:rPr lang="en-US"/>
                      <a:pPr>
                        <a:defRPr sz="1200" b="1"/>
                      </a:pPr>
                      <a:t>[ZELLBEREICH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7EE9-4065-A3A1-DEFD10CDA204}"/>
                </c:ext>
              </c:extLst>
            </c:dLbl>
            <c:dLbl>
              <c:idx val="11"/>
              <c:layout>
                <c:manualLayout>
                  <c:x val="-3.621134065934066E-2"/>
                  <c:y val="-5.0326872191474407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200" b="1"/>
                    </a:pPr>
                    <a:fld id="{0DC62C1C-C42E-49FC-932B-1056B41D19AB}" type="CELLRANGE">
                      <a:rPr lang="en-US"/>
                      <a:pPr>
                        <a:defRPr sz="1200" b="1"/>
                      </a:pPr>
                      <a:t>[ZELLBEREICH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7EE9-4065-A3A1-DEFD10CDA204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17:$M$17</c:f>
              <c:numCache>
                <c:formatCode>#,##0.000</c:formatCode>
                <c:ptCount val="12"/>
                <c:pt idx="0">
                  <c:v>22.687327937832521</c:v>
                </c:pt>
                <c:pt idx="1">
                  <c:v>18.38435972161124</c:v>
                </c:pt>
                <c:pt idx="2">
                  <c:v>19.016737259097201</c:v>
                </c:pt>
                <c:pt idx="3">
                  <c:v>14.722145323350139</c:v>
                </c:pt>
                <c:pt idx="4">
                  <c:v>13.756651697434759</c:v>
                </c:pt>
                <c:pt idx="5">
                  <c:v>14.004675112488354</c:v>
                </c:pt>
                <c:pt idx="6">
                  <c:v>13.850756844757626</c:v>
                </c:pt>
                <c:pt idx="7">
                  <c:v>14.497877186149786</c:v>
                </c:pt>
                <c:pt idx="8">
                  <c:v>14.807446389627577</c:v>
                </c:pt>
                <c:pt idx="9">
                  <c:v>18.813291677664289</c:v>
                </c:pt>
                <c:pt idx="10">
                  <c:v>23.352198917883541</c:v>
                </c:pt>
                <c:pt idx="11">
                  <c:v>20.89416327350818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'2025'!$B$18:$M$18</c15:f>
                <c15:dlblRangeCache>
                  <c:ptCount val="12"/>
                  <c:pt idx="0">
                    <c:v>+3,0%</c:v>
                  </c:pt>
                  <c:pt idx="1">
                    <c:v>+30,1%</c:v>
                  </c:pt>
                  <c:pt idx="2">
                    <c:v>+11,7%</c:v>
                  </c:pt>
                  <c:pt idx="3">
                    <c:v>+10,0%</c:v>
                  </c:pt>
                  <c:pt idx="4">
                    <c:v>-9,1%</c:v>
                  </c:pt>
                  <c:pt idx="5">
                    <c:v>-17,1%</c:v>
                  </c:pt>
                  <c:pt idx="6">
                    <c:v>+10,8%</c:v>
                  </c:pt>
                  <c:pt idx="7">
                    <c:v>-10,4%</c:v>
                  </c:pt>
                  <c:pt idx="8">
                    <c:v>-6,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2-7EE9-4065-A3A1-DEFD10CDA2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7559680"/>
        <c:axId val="97561216"/>
      </c:lineChart>
      <c:catAx>
        <c:axId val="9755968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525">
            <a:solidFill>
              <a:srgbClr val="B5C0C9"/>
            </a:solidFill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97561216"/>
        <c:crosses val="autoZero"/>
        <c:auto val="1"/>
        <c:lblAlgn val="ctr"/>
        <c:lblOffset val="100"/>
        <c:noMultiLvlLbl val="0"/>
      </c:catAx>
      <c:valAx>
        <c:axId val="97561216"/>
        <c:scaling>
          <c:orientation val="minMax"/>
          <c:max val="40"/>
        </c:scaling>
        <c:delete val="0"/>
        <c:axPos val="l"/>
        <c:majorGridlines>
          <c:spPr>
            <a:ln w="9525">
              <a:solidFill>
                <a:srgbClr val="B5C0C9"/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400" b="1"/>
                </a:pPr>
                <a:r>
                  <a:rPr lang="de-DE" sz="1400" b="1"/>
                  <a:t>in Mrd. kWh</a:t>
                </a:r>
              </a:p>
            </c:rich>
          </c:tx>
          <c:layout>
            <c:manualLayout>
              <c:xMode val="edge"/>
              <c:yMode val="edge"/>
              <c:x val="1.2239302791688573E-3"/>
              <c:y val="0.34516554898155521"/>
            </c:manualLayout>
          </c:layout>
          <c:overlay val="0"/>
        </c:title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975596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044703409056001"/>
          <c:y val="0.14826544095573307"/>
          <c:w val="0.19395816980817404"/>
          <c:h val="0.53107722073433916"/>
        </c:manualLayout>
      </c:layout>
      <c:overlay val="0"/>
      <c:txPr>
        <a:bodyPr/>
        <a:lstStyle/>
        <a:p>
          <a:pPr>
            <a:defRPr sz="1100">
              <a:latin typeface="Calibri" panose="020F0502020204030204" pitchFamily="34" charset="0"/>
              <a:cs typeface="Calibri" panose="020F0502020204030204" pitchFamily="34" charset="0"/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981741077369001E-2"/>
          <c:y val="4.7830055419529532E-2"/>
          <c:w val="0.71194532269423805"/>
          <c:h val="0.83457344983816251"/>
        </c:manualLayout>
      </c:layout>
      <c:barChart>
        <c:barDir val="col"/>
        <c:grouping val="clustered"/>
        <c:varyColors val="0"/>
        <c:ser>
          <c:idx val="2"/>
          <c:order val="1"/>
          <c:tx>
            <c:strRef>
              <c:f>Sheet1!$C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0068AF">
                <a:lumMod val="20000"/>
                <a:lumOff val="80000"/>
              </a:srgbClr>
            </a:solidFill>
            <a:ln w="27321"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4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C$2:$C$14</c:f>
              <c:numCache>
                <c:formatCode>General</c:formatCode>
                <c:ptCount val="12"/>
                <c:pt idx="0">
                  <c:v>3.3774414174544063</c:v>
                </c:pt>
                <c:pt idx="1">
                  <c:v>3.2706214743379318</c:v>
                </c:pt>
                <c:pt idx="2">
                  <c:v>2.8499957633076223</c:v>
                </c:pt>
                <c:pt idx="3">
                  <c:v>2.8878636609291517</c:v>
                </c:pt>
                <c:pt idx="4">
                  <c:v>2.5493925406825659</c:v>
                </c:pt>
                <c:pt idx="5">
                  <c:v>2.6671947648084373</c:v>
                </c:pt>
                <c:pt idx="6">
                  <c:v>2.5421001412176087</c:v>
                </c:pt>
                <c:pt idx="7">
                  <c:v>2.4796891333279185</c:v>
                </c:pt>
                <c:pt idx="8">
                  <c:v>2.7885542197838062</c:v>
                </c:pt>
                <c:pt idx="9">
                  <c:v>2.6218918264328628</c:v>
                </c:pt>
                <c:pt idx="10">
                  <c:v>2.8211242366776137</c:v>
                </c:pt>
                <c:pt idx="11">
                  <c:v>3.08382835127563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17-47B2-951B-A4E4FE082B6B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rgbClr val="00AFD8"/>
            </a:solidFill>
            <a:ln w="27321"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4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D$2:$D$14</c:f>
              <c:numCache>
                <c:formatCode>General</c:formatCode>
                <c:ptCount val="12"/>
                <c:pt idx="0">
                  <c:v>3.011613950778016</c:v>
                </c:pt>
                <c:pt idx="1">
                  <c:v>2.5450058055163969</c:v>
                </c:pt>
                <c:pt idx="2">
                  <c:v>2.4991189108474301</c:v>
                </c:pt>
                <c:pt idx="3">
                  <c:v>2.5211954759843742</c:v>
                </c:pt>
                <c:pt idx="4">
                  <c:v>2.7043772906599859</c:v>
                </c:pt>
                <c:pt idx="5">
                  <c:v>2.8253469940308071</c:v>
                </c:pt>
                <c:pt idx="6">
                  <c:v>2.5811181920009725</c:v>
                </c:pt>
                <c:pt idx="7">
                  <c:v>2.5214804180990011</c:v>
                </c:pt>
                <c:pt idx="8">
                  <c:v>2.79543606204999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17-47B2-951B-A4E4FE082B6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30"/>
        <c:axId val="158209152"/>
        <c:axId val="1582106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urchschnitt 2005-2024</c:v>
                </c:pt>
              </c:strCache>
            </c:strRef>
          </c:tx>
          <c:spPr>
            <a:ln w="44450">
              <a:solidFill>
                <a:srgbClr val="002060"/>
              </a:solidFill>
              <a:prstDash val="solid"/>
            </a:ln>
            <a:effectLst/>
          </c:spPr>
          <c:marker>
            <c:symbol val="circle"/>
            <c:size val="8"/>
            <c:spPr>
              <a:solidFill>
                <a:srgbClr val="002060"/>
              </a:solidFill>
              <a:ln>
                <a:solidFill>
                  <a:srgbClr val="002060"/>
                </a:solidFill>
              </a:ln>
              <a:effectLst/>
            </c:spPr>
          </c:marker>
          <c:dLbls>
            <c:delete val="1"/>
          </c:dLbls>
          <c:cat>
            <c:strRef>
              <c:f>Sheet1!$A$2:$A$14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2"/>
                <c:pt idx="0">
                  <c:v>3.2700295562443649</c:v>
                </c:pt>
                <c:pt idx="1">
                  <c:v>3.1571039680138573</c:v>
                </c:pt>
                <c:pt idx="2">
                  <c:v>3.0401635094466695</c:v>
                </c:pt>
                <c:pt idx="3">
                  <c:v>2.8447053904624413</c:v>
                </c:pt>
                <c:pt idx="4">
                  <c:v>2.7456966702069532</c:v>
                </c:pt>
                <c:pt idx="5">
                  <c:v>2.6524537982649239</c:v>
                </c:pt>
                <c:pt idx="6">
                  <c:v>2.6651891700788934</c:v>
                </c:pt>
                <c:pt idx="7">
                  <c:v>2.6048554684716967</c:v>
                </c:pt>
                <c:pt idx="8">
                  <c:v>2.6755480010859349</c:v>
                </c:pt>
                <c:pt idx="9">
                  <c:v>2.8331974069667889</c:v>
                </c:pt>
                <c:pt idx="10">
                  <c:v>2.9907174846033504</c:v>
                </c:pt>
                <c:pt idx="11">
                  <c:v>3.14852616664203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817-47B2-951B-A4E4FE082B6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8209152"/>
        <c:axId val="158210688"/>
      </c:lineChart>
      <c:catAx>
        <c:axId val="158209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B5C0C9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endParaRPr lang="de-DE"/>
          </a:p>
        </c:txPr>
        <c:crossAx val="15821068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58210688"/>
        <c:scaling>
          <c:orientation val="minMax"/>
        </c:scaling>
        <c:delete val="0"/>
        <c:axPos val="l"/>
        <c:majorGridlines>
          <c:spPr>
            <a:ln w="9525">
              <a:solidFill>
                <a:srgbClr val="B5C0C9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b="1" i="0" u="none" strike="noStrike" kern="1200" baseline="0">
                    <a:solidFill>
                      <a:srgbClr val="000000"/>
                    </a:solidFill>
                    <a:latin typeface="Calibri" panose="020F0502020204030204" pitchFamily="34" charset="0"/>
                    <a:ea typeface="Arial"/>
                    <a:cs typeface="Calibri" panose="020F0502020204030204" pitchFamily="34" charset="0"/>
                  </a:defRPr>
                </a:pPr>
                <a:r>
                  <a:rPr lang="de-DE" sz="1400" b="1" i="0" baseline="0">
                    <a:latin typeface="Calibri" panose="020F0502020204030204" pitchFamily="34" charset="0"/>
                    <a:cs typeface="Calibri" panose="020F0502020204030204" pitchFamily="34" charset="0"/>
                  </a:rPr>
                  <a:t>Durchschnittliche Windstärke </a:t>
                </a:r>
                <a:br>
                  <a:rPr lang="de-DE" sz="1400" b="1" i="0" baseline="0"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de-DE" sz="1400" b="1" i="0" baseline="0">
                    <a:latin typeface="Calibri" panose="020F0502020204030204" pitchFamily="34" charset="0"/>
                    <a:cs typeface="Calibri" panose="020F0502020204030204" pitchFamily="34" charset="0"/>
                  </a:rPr>
                  <a:t>in bft</a:t>
                </a:r>
                <a:endParaRPr lang="de-DE" sz="1400" b="1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c:rich>
          </c:tx>
          <c:layout>
            <c:manualLayout>
              <c:xMode val="edge"/>
              <c:yMode val="edge"/>
              <c:x val="8.9393496377683577E-4"/>
              <c:y val="3.3517503275320777E-2"/>
            </c:manualLayout>
          </c:layout>
          <c:overlay val="0"/>
          <c:spPr>
            <a:noFill/>
            <a:ln w="27321">
              <a:noFill/>
            </a:ln>
          </c:spPr>
        </c:title>
        <c:numFmt formatCode="#,##0.0" sourceLinked="0"/>
        <c:majorTickMark val="out"/>
        <c:minorTickMark val="none"/>
        <c:tickLblPos val="nextTo"/>
        <c:spPr>
          <a:ln w="10245">
            <a:noFill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endParaRPr lang="de-DE"/>
          </a:p>
        </c:txPr>
        <c:crossAx val="158209152"/>
        <c:crosses val="autoZero"/>
        <c:crossBetween val="between"/>
      </c:valAx>
      <c:spPr>
        <a:noFill/>
        <a:ln w="27321">
          <a:noFill/>
        </a:ln>
      </c:spPr>
    </c:plotArea>
    <c:legend>
      <c:legendPos val="r"/>
      <c:layout>
        <c:manualLayout>
          <c:xMode val="edge"/>
          <c:yMode val="edge"/>
          <c:x val="0.81834561446234955"/>
          <c:y val="0.39397976269887719"/>
          <c:w val="0.18013376217306898"/>
          <c:h val="0.46725910915164498"/>
        </c:manualLayout>
      </c:layout>
      <c:overlay val="0"/>
      <c:spPr>
        <a:noFill/>
        <a:ln w="27321">
          <a:noFill/>
        </a:ln>
      </c:spPr>
      <c:txPr>
        <a:bodyPr/>
        <a:lstStyle/>
        <a:p>
          <a:pPr>
            <a:defRPr sz="1200" b="0" i="0" u="none" strike="noStrike" baseline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33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981741077369001E-2"/>
          <c:y val="2.6873905290896755E-2"/>
          <c:w val="0.71042469932965657"/>
          <c:h val="0.81452984709576637"/>
        </c:manualLayout>
      </c:layout>
      <c:barChart>
        <c:barDir val="col"/>
        <c:grouping val="clustered"/>
        <c:varyColors val="0"/>
        <c:ser>
          <c:idx val="2"/>
          <c:order val="1"/>
          <c:tx>
            <c:strRef>
              <c:f>Sheet1!$C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FEC800">
                <a:lumMod val="40000"/>
                <a:lumOff val="60000"/>
              </a:srgbClr>
            </a:solidFill>
            <a:ln w="27321"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4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C$2:$C$14</c:f>
              <c:numCache>
                <c:formatCode>General</c:formatCode>
                <c:ptCount val="12"/>
                <c:pt idx="0">
                  <c:v>73.121160216693355</c:v>
                </c:pt>
                <c:pt idx="1">
                  <c:v>54.143699828980679</c:v>
                </c:pt>
                <c:pt idx="2">
                  <c:v>123.74425836174724</c:v>
                </c:pt>
                <c:pt idx="3">
                  <c:v>154.49516454755408</c:v>
                </c:pt>
                <c:pt idx="4">
                  <c:v>210.4360280153864</c:v>
                </c:pt>
                <c:pt idx="5">
                  <c:v>209.856631426322</c:v>
                </c:pt>
                <c:pt idx="6">
                  <c:v>239.34385942839657</c:v>
                </c:pt>
                <c:pt idx="7">
                  <c:v>265.95353338177006</c:v>
                </c:pt>
                <c:pt idx="8">
                  <c:v>179.56343433476977</c:v>
                </c:pt>
                <c:pt idx="9">
                  <c:v>97.042094896258064</c:v>
                </c:pt>
                <c:pt idx="10">
                  <c:v>53.183137101207414</c:v>
                </c:pt>
                <c:pt idx="11">
                  <c:v>36.0497494336193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8A-4579-A821-B56DB5321B35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rgbClr val="FEC800"/>
            </a:solidFill>
            <a:ln w="27321"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4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D$2:$D$14</c:f>
              <c:numCache>
                <c:formatCode>General</c:formatCode>
                <c:ptCount val="12"/>
                <c:pt idx="0">
                  <c:v>59.942724580023743</c:v>
                </c:pt>
                <c:pt idx="1">
                  <c:v>90.358519172283394</c:v>
                </c:pt>
                <c:pt idx="2">
                  <c:v>195.41817835627478</c:v>
                </c:pt>
                <c:pt idx="3">
                  <c:v>245.65903911647177</c:v>
                </c:pt>
                <c:pt idx="4">
                  <c:v>254.21291145633694</c:v>
                </c:pt>
                <c:pt idx="5">
                  <c:v>281.28052841491251</c:v>
                </c:pt>
                <c:pt idx="6">
                  <c:v>193.43020015047085</c:v>
                </c:pt>
                <c:pt idx="7">
                  <c:v>255.29407630315691</c:v>
                </c:pt>
                <c:pt idx="8">
                  <c:v>157.01309963601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8A-4579-A821-B56DB5321B3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30"/>
        <c:axId val="30432640"/>
        <c:axId val="30446720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urchschnitt 2005-2024</c:v>
                </c:pt>
              </c:strCache>
            </c:strRef>
          </c:tx>
          <c:spPr>
            <a:ln w="44450">
              <a:solidFill>
                <a:srgbClr val="002060"/>
              </a:solidFill>
              <a:prstDash val="solid"/>
            </a:ln>
            <a:effectLst/>
          </c:spPr>
          <c:marker>
            <c:symbol val="circle"/>
            <c:size val="8"/>
            <c:spPr>
              <a:solidFill>
                <a:srgbClr val="002060"/>
              </a:solidFill>
              <a:ln>
                <a:solidFill>
                  <a:srgbClr val="002060"/>
                </a:solidFill>
              </a:ln>
              <a:effectLst/>
            </c:spPr>
          </c:marker>
          <c:dLbls>
            <c:delete val="1"/>
          </c:dLbls>
          <c:cat>
            <c:strRef>
              <c:f>Sheet1!$A$2:$A$14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2"/>
                <c:pt idx="0">
                  <c:v>52.608989266302068</c:v>
                </c:pt>
                <c:pt idx="1">
                  <c:v>80.485817119897106</c:v>
                </c:pt>
                <c:pt idx="2">
                  <c:v>142.4916401058241</c:v>
                </c:pt>
                <c:pt idx="3">
                  <c:v>195.73246142495668</c:v>
                </c:pt>
                <c:pt idx="4">
                  <c:v>216.97517669428967</c:v>
                </c:pt>
                <c:pt idx="5">
                  <c:v>235.17153029685687</c:v>
                </c:pt>
                <c:pt idx="6">
                  <c:v>238.32660667031286</c:v>
                </c:pt>
                <c:pt idx="7">
                  <c:v>212.5080523111497</c:v>
                </c:pt>
                <c:pt idx="8">
                  <c:v>173.35649431264326</c:v>
                </c:pt>
                <c:pt idx="9">
                  <c:v>114.49646258928173</c:v>
                </c:pt>
                <c:pt idx="10">
                  <c:v>59.917850695564326</c:v>
                </c:pt>
                <c:pt idx="11">
                  <c:v>44.5067276051997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8A-4579-A821-B56DB5321B3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0432640"/>
        <c:axId val="30446720"/>
      </c:lineChart>
      <c:catAx>
        <c:axId val="30432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B5C0C9"/>
            </a:solidFill>
            <a:prstDash val="solid"/>
          </a:ln>
        </c:spPr>
        <c:txPr>
          <a:bodyPr rot="0" vert="horz"/>
          <a:lstStyle/>
          <a:p>
            <a: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de-DE"/>
          </a:p>
        </c:txPr>
        <c:crossAx val="30446720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30446720"/>
        <c:scaling>
          <c:orientation val="minMax"/>
        </c:scaling>
        <c:delete val="0"/>
        <c:axPos val="l"/>
        <c:majorGridlines>
          <c:spPr>
            <a:ln w="9525">
              <a:solidFill>
                <a:srgbClr val="B5C0C9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r>
                  <a:rPr lang="de-DE" b="1">
                    <a:latin typeface="Calibri" panose="020F0502020204030204" pitchFamily="34" charset="0"/>
                    <a:cs typeface="Calibri" panose="020F0502020204030204" pitchFamily="34" charset="0"/>
                  </a:rPr>
                  <a:t>Monatliche Sonnenscheindauer in h</a:t>
                </a:r>
              </a:p>
            </c:rich>
          </c:tx>
          <c:layout>
            <c:manualLayout>
              <c:xMode val="edge"/>
              <c:yMode val="edge"/>
              <c:x val="1.4467474105699847E-3"/>
              <c:y val="2.1012102946049577E-3"/>
            </c:manualLayout>
          </c:layout>
          <c:overlay val="0"/>
          <c:spPr>
            <a:noFill/>
            <a:ln w="27321">
              <a:noFill/>
            </a:ln>
          </c:spPr>
        </c:title>
        <c:numFmt formatCode="#,##0" sourceLinked="0"/>
        <c:majorTickMark val="out"/>
        <c:minorTickMark val="none"/>
        <c:tickLblPos val="nextTo"/>
        <c:spPr>
          <a:ln w="10245">
            <a:noFill/>
          </a:ln>
        </c:spPr>
        <c:txPr>
          <a:bodyPr rot="0" vert="horz"/>
          <a:lstStyle/>
          <a:p>
            <a: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de-DE"/>
          </a:p>
        </c:txPr>
        <c:crossAx val="30432640"/>
        <c:crosses val="autoZero"/>
        <c:crossBetween val="between"/>
      </c:valAx>
      <c:spPr>
        <a:noFill/>
        <a:ln w="27321">
          <a:noFill/>
        </a:ln>
      </c:spPr>
    </c:plotArea>
    <c:legend>
      <c:legendPos val="r"/>
      <c:layout>
        <c:manualLayout>
          <c:xMode val="edge"/>
          <c:yMode val="edge"/>
          <c:x val="0.81834561446234932"/>
          <c:y val="0.36470799867451448"/>
          <c:w val="0.18013376217306898"/>
          <c:h val="0.45495242453410767"/>
        </c:manualLayout>
      </c:layout>
      <c:overlay val="0"/>
      <c:spPr>
        <a:noFill/>
        <a:ln w="27321">
          <a:noFill/>
        </a:ln>
      </c:spPr>
      <c:txPr>
        <a:bodyPr/>
        <a:lstStyle/>
        <a:p>
          <a:pPr>
            <a:defRPr lang="en-US" sz="1200" b="0" i="0" u="none" strike="noStrike" kern="1200" baseline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0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981741077369001E-2"/>
          <c:y val="2.6873905290896755E-2"/>
          <c:w val="0.71042469932965657"/>
          <c:h val="0.81452984709576637"/>
        </c:manualLayout>
      </c:layout>
      <c:barChart>
        <c:barDir val="col"/>
        <c:grouping val="clustered"/>
        <c:varyColors val="0"/>
        <c:ser>
          <c:idx val="2"/>
          <c:order val="1"/>
          <c:tx>
            <c:strRef>
              <c:f>Sheet1!$C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A0B8DB"/>
            </a:solidFill>
            <a:ln w="27321"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4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C$2:$C$14</c:f>
              <c:numCache>
                <c:formatCode>#,##0.000</c:formatCode>
                <c:ptCount val="12"/>
                <c:pt idx="0">
                  <c:v>71.11735999028329</c:v>
                </c:pt>
                <c:pt idx="1">
                  <c:v>56.361689904959192</c:v>
                </c:pt>
                <c:pt idx="2">
                  <c:v>48.538708223191847</c:v>
                </c:pt>
                <c:pt idx="3">
                  <c:v>55.975431242078123</c:v>
                </c:pt>
                <c:pt idx="4">
                  <c:v>160.64624441042324</c:v>
                </c:pt>
                <c:pt idx="5">
                  <c:v>117.58978599383192</c:v>
                </c:pt>
                <c:pt idx="6">
                  <c:v>103.36375266856056</c:v>
                </c:pt>
                <c:pt idx="7">
                  <c:v>69.699137131733224</c:v>
                </c:pt>
                <c:pt idx="8">
                  <c:v>117.93611812345134</c:v>
                </c:pt>
                <c:pt idx="9">
                  <c:v>62.377657171786439</c:v>
                </c:pt>
                <c:pt idx="10">
                  <c:v>48.112974029318799</c:v>
                </c:pt>
                <c:pt idx="11">
                  <c:v>44.5138374906984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FE-485D-B466-700B515DDB63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rgbClr val="0068AF"/>
            </a:solidFill>
            <a:ln w="27321"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4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D$2:$D$14</c:f>
              <c:numCache>
                <c:formatCode>#,##0.000</c:formatCode>
                <c:ptCount val="12"/>
                <c:pt idx="0">
                  <c:v>72.276048225785033</c:v>
                </c:pt>
                <c:pt idx="1">
                  <c:v>23.98388779344128</c:v>
                </c:pt>
                <c:pt idx="2">
                  <c:v>24.567215808988426</c:v>
                </c:pt>
                <c:pt idx="3">
                  <c:v>25.343042891730718</c:v>
                </c:pt>
                <c:pt idx="4">
                  <c:v>58.799987405973887</c:v>
                </c:pt>
                <c:pt idx="5">
                  <c:v>61.680908603483459</c:v>
                </c:pt>
                <c:pt idx="6">
                  <c:v>121.86961927595745</c:v>
                </c:pt>
                <c:pt idx="7">
                  <c:v>68.39332456287471</c:v>
                </c:pt>
                <c:pt idx="8">
                  <c:v>101.662978528592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E-485D-B466-700B515DDB6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30"/>
        <c:axId val="30250112"/>
        <c:axId val="3025164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urchschnitt 2004-2025</c:v>
                </c:pt>
              </c:strCache>
            </c:strRef>
          </c:tx>
          <c:spPr>
            <a:ln w="44450">
              <a:solidFill>
                <a:srgbClr val="002060"/>
              </a:solidFill>
              <a:prstDash val="solid"/>
            </a:ln>
            <a:effectLst/>
          </c:spPr>
          <c:marker>
            <c:symbol val="circle"/>
            <c:size val="8"/>
            <c:spPr>
              <a:solidFill>
                <a:srgbClr val="002060"/>
              </a:solidFill>
              <a:ln w="9525">
                <a:solidFill>
                  <a:srgbClr val="002060"/>
                </a:solidFill>
              </a:ln>
              <a:effectLst/>
            </c:spPr>
          </c:marker>
          <c:dLbls>
            <c:delete val="1"/>
          </c:dLbls>
          <c:cat>
            <c:strRef>
              <c:f>Sheet1!$A$2:$A$14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B$2:$B$14</c:f>
              <c:numCache>
                <c:formatCode>#,##0.000</c:formatCode>
                <c:ptCount val="12"/>
                <c:pt idx="0">
                  <c:v>52.801828916741101</c:v>
                </c:pt>
                <c:pt idx="1">
                  <c:v>42.99013890833838</c:v>
                </c:pt>
                <c:pt idx="2">
                  <c:v>44.829913795007215</c:v>
                </c:pt>
                <c:pt idx="3">
                  <c:v>45.730932325392075</c:v>
                </c:pt>
                <c:pt idx="4">
                  <c:v>87.579963414632729</c:v>
                </c:pt>
                <c:pt idx="5">
                  <c:v>86.826089394640576</c:v>
                </c:pt>
                <c:pt idx="6">
                  <c:v>87.929028505424938</c:v>
                </c:pt>
                <c:pt idx="7">
                  <c:v>94.238948404140487</c:v>
                </c:pt>
                <c:pt idx="8">
                  <c:v>60.806893805810454</c:v>
                </c:pt>
                <c:pt idx="9">
                  <c:v>52.814261439632411</c:v>
                </c:pt>
                <c:pt idx="10">
                  <c:v>52.012751650873824</c:v>
                </c:pt>
                <c:pt idx="11">
                  <c:v>58.7375732858428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4FE-485D-B466-700B515DDB6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0250112"/>
        <c:axId val="30251648"/>
      </c:lineChart>
      <c:catAx>
        <c:axId val="30250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B5C0C9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endParaRPr lang="de-DE"/>
          </a:p>
        </c:txPr>
        <c:crossAx val="3025164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30251648"/>
        <c:scaling>
          <c:orientation val="minMax"/>
        </c:scaling>
        <c:delete val="0"/>
        <c:axPos val="l"/>
        <c:majorGridlines>
          <c:spPr>
            <a:ln w="9525">
              <a:solidFill>
                <a:srgbClr val="B5C0C9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b="1" i="0" u="none" strike="noStrike" kern="1200" baseline="0">
                    <a:solidFill>
                      <a:srgbClr val="000000"/>
                    </a:solidFill>
                    <a:latin typeface="Calibri" panose="020F0502020204030204" pitchFamily="34" charset="0"/>
                    <a:ea typeface="Arial"/>
                    <a:cs typeface="Calibri" panose="020F0502020204030204" pitchFamily="34" charset="0"/>
                  </a:defRPr>
                </a:pPr>
                <a:r>
                  <a:rPr lang="de-DE" sz="1400" b="1" i="0" baseline="0">
                    <a:latin typeface="Calibri" panose="020F0502020204030204" pitchFamily="34" charset="0"/>
                    <a:cs typeface="Calibri" panose="020F0502020204030204" pitchFamily="34" charset="0"/>
                  </a:rPr>
                  <a:t>Monatliche Niederschlagsmenge in mm</a:t>
                </a:r>
                <a:endParaRPr lang="de-DE" sz="1400" b="1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c:rich>
          </c:tx>
          <c:layout>
            <c:manualLayout>
              <c:xMode val="edge"/>
              <c:yMode val="edge"/>
              <c:x val="7.2463091357854417E-4"/>
              <c:y val="1.2024048096192385E-2"/>
            </c:manualLayout>
          </c:layout>
          <c:overlay val="0"/>
          <c:spPr>
            <a:noFill/>
            <a:ln w="27321">
              <a:noFill/>
            </a:ln>
          </c:spPr>
        </c:title>
        <c:numFmt formatCode="#,##0" sourceLinked="0"/>
        <c:majorTickMark val="out"/>
        <c:minorTickMark val="none"/>
        <c:tickLblPos val="nextTo"/>
        <c:spPr>
          <a:ln w="10245">
            <a:noFill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endParaRPr lang="de-DE"/>
          </a:p>
        </c:txPr>
        <c:crossAx val="30250112"/>
        <c:crosses val="autoZero"/>
        <c:crossBetween val="between"/>
      </c:valAx>
      <c:spPr>
        <a:noFill/>
        <a:ln w="27321">
          <a:noFill/>
        </a:ln>
      </c:spPr>
    </c:plotArea>
    <c:legend>
      <c:legendPos val="r"/>
      <c:layout>
        <c:manualLayout>
          <c:xMode val="edge"/>
          <c:yMode val="edge"/>
          <c:x val="0.81834561446234955"/>
          <c:y val="0.36069998264245023"/>
          <c:w val="0.18013376217306898"/>
          <c:h val="0.46296845659823577"/>
        </c:manualLayout>
      </c:layout>
      <c:overlay val="0"/>
      <c:spPr>
        <a:noFill/>
        <a:ln w="27321">
          <a:noFill/>
        </a:ln>
      </c:spPr>
      <c:txPr>
        <a:bodyPr/>
        <a:lstStyle/>
        <a:p>
          <a:pPr>
            <a:defRPr lang="en-US" sz="1200" b="0" i="0" u="none" strike="noStrike" kern="1200" baseline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33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238938053097439E-2"/>
          <c:y val="3.9108498971289422E-2"/>
          <c:w val="0.8860650793274486"/>
          <c:h val="0.72093087198218975"/>
        </c:manualLayout>
      </c:layout>
      <c:barChart>
        <c:barDir val="col"/>
        <c:grouping val="clustered"/>
        <c:varyColors val="0"/>
        <c:ser>
          <c:idx val="2"/>
          <c:order val="1"/>
          <c:tx>
            <c:strRef>
              <c:f>Sheet1!$C$1</c:f>
              <c:strCache>
                <c:ptCount val="1"/>
                <c:pt idx="0">
                  <c:v>Monatssaldo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 w="38100">
              <a:noFill/>
              <a:prstDash val="solid"/>
            </a:ln>
          </c:spPr>
          <c:invertIfNegative val="0"/>
          <c:cat>
            <c:numRef>
              <c:f>Sheet1!$A$2:$A$169</c:f>
              <c:numCache>
                <c:formatCode>mmm\-yy</c:formatCode>
                <c:ptCount val="168"/>
                <c:pt idx="0">
                  <c:v>40909</c:v>
                </c:pt>
                <c:pt idx="1">
                  <c:v>40940</c:v>
                </c:pt>
                <c:pt idx="2">
                  <c:v>40969</c:v>
                </c:pt>
                <c:pt idx="3">
                  <c:v>41000</c:v>
                </c:pt>
                <c:pt idx="4">
                  <c:v>41030</c:v>
                </c:pt>
                <c:pt idx="5">
                  <c:v>41061</c:v>
                </c:pt>
                <c:pt idx="6">
                  <c:v>41091</c:v>
                </c:pt>
                <c:pt idx="7">
                  <c:v>41122</c:v>
                </c:pt>
                <c:pt idx="8">
                  <c:v>41153</c:v>
                </c:pt>
                <c:pt idx="9">
                  <c:v>41183</c:v>
                </c:pt>
                <c:pt idx="10">
                  <c:v>41214</c:v>
                </c:pt>
                <c:pt idx="11">
                  <c:v>41244</c:v>
                </c:pt>
                <c:pt idx="12">
                  <c:v>41275</c:v>
                </c:pt>
                <c:pt idx="13">
                  <c:v>41306</c:v>
                </c:pt>
                <c:pt idx="14">
                  <c:v>41334</c:v>
                </c:pt>
                <c:pt idx="15">
                  <c:v>41365</c:v>
                </c:pt>
                <c:pt idx="16">
                  <c:v>41395</c:v>
                </c:pt>
                <c:pt idx="17">
                  <c:v>41426</c:v>
                </c:pt>
                <c:pt idx="18">
                  <c:v>41456</c:v>
                </c:pt>
                <c:pt idx="19">
                  <c:v>41487</c:v>
                </c:pt>
                <c:pt idx="20">
                  <c:v>41518</c:v>
                </c:pt>
                <c:pt idx="21">
                  <c:v>41548</c:v>
                </c:pt>
                <c:pt idx="22">
                  <c:v>41579</c:v>
                </c:pt>
                <c:pt idx="23">
                  <c:v>41609</c:v>
                </c:pt>
                <c:pt idx="24">
                  <c:v>41640</c:v>
                </c:pt>
                <c:pt idx="25">
                  <c:v>41671</c:v>
                </c:pt>
                <c:pt idx="26">
                  <c:v>41699</c:v>
                </c:pt>
                <c:pt idx="27">
                  <c:v>41730</c:v>
                </c:pt>
                <c:pt idx="28">
                  <c:v>41760</c:v>
                </c:pt>
                <c:pt idx="29">
                  <c:v>41791</c:v>
                </c:pt>
                <c:pt idx="30">
                  <c:v>41821</c:v>
                </c:pt>
                <c:pt idx="31">
                  <c:v>41852</c:v>
                </c:pt>
                <c:pt idx="32">
                  <c:v>41883</c:v>
                </c:pt>
                <c:pt idx="33">
                  <c:v>41913</c:v>
                </c:pt>
                <c:pt idx="34">
                  <c:v>41944</c:v>
                </c:pt>
                <c:pt idx="35">
                  <c:v>41974</c:v>
                </c:pt>
                <c:pt idx="36">
                  <c:v>42005</c:v>
                </c:pt>
                <c:pt idx="37">
                  <c:v>42036</c:v>
                </c:pt>
                <c:pt idx="38">
                  <c:v>42064</c:v>
                </c:pt>
                <c:pt idx="39">
                  <c:v>42095</c:v>
                </c:pt>
                <c:pt idx="40">
                  <c:v>42125</c:v>
                </c:pt>
                <c:pt idx="41">
                  <c:v>42156</c:v>
                </c:pt>
                <c:pt idx="42">
                  <c:v>42186</c:v>
                </c:pt>
                <c:pt idx="43">
                  <c:v>42217</c:v>
                </c:pt>
                <c:pt idx="44">
                  <c:v>42248</c:v>
                </c:pt>
                <c:pt idx="45">
                  <c:v>42278</c:v>
                </c:pt>
                <c:pt idx="46">
                  <c:v>42309</c:v>
                </c:pt>
                <c:pt idx="47">
                  <c:v>42339</c:v>
                </c:pt>
                <c:pt idx="48">
                  <c:v>42370</c:v>
                </c:pt>
                <c:pt idx="49">
                  <c:v>42401</c:v>
                </c:pt>
                <c:pt idx="50">
                  <c:v>42430</c:v>
                </c:pt>
                <c:pt idx="51">
                  <c:v>42461</c:v>
                </c:pt>
                <c:pt idx="52">
                  <c:v>42491</c:v>
                </c:pt>
                <c:pt idx="53">
                  <c:v>42522</c:v>
                </c:pt>
                <c:pt idx="54">
                  <c:v>42552</c:v>
                </c:pt>
                <c:pt idx="55">
                  <c:v>42583</c:v>
                </c:pt>
                <c:pt idx="56">
                  <c:v>42614</c:v>
                </c:pt>
                <c:pt idx="57">
                  <c:v>42644</c:v>
                </c:pt>
                <c:pt idx="58">
                  <c:v>42675</c:v>
                </c:pt>
                <c:pt idx="59">
                  <c:v>42705</c:v>
                </c:pt>
                <c:pt idx="60">
                  <c:v>42736</c:v>
                </c:pt>
                <c:pt idx="61">
                  <c:v>42767</c:v>
                </c:pt>
                <c:pt idx="62">
                  <c:v>42795</c:v>
                </c:pt>
                <c:pt idx="63">
                  <c:v>42826</c:v>
                </c:pt>
                <c:pt idx="64">
                  <c:v>42856</c:v>
                </c:pt>
                <c:pt idx="65">
                  <c:v>42887</c:v>
                </c:pt>
                <c:pt idx="66">
                  <c:v>42917</c:v>
                </c:pt>
                <c:pt idx="67">
                  <c:v>42948</c:v>
                </c:pt>
                <c:pt idx="68">
                  <c:v>42979</c:v>
                </c:pt>
                <c:pt idx="69">
                  <c:v>43009</c:v>
                </c:pt>
                <c:pt idx="70">
                  <c:v>43040</c:v>
                </c:pt>
                <c:pt idx="71">
                  <c:v>43070</c:v>
                </c:pt>
                <c:pt idx="72">
                  <c:v>43101</c:v>
                </c:pt>
                <c:pt idx="73">
                  <c:v>43132</c:v>
                </c:pt>
                <c:pt idx="74">
                  <c:v>43160</c:v>
                </c:pt>
                <c:pt idx="75">
                  <c:v>43191</c:v>
                </c:pt>
                <c:pt idx="76">
                  <c:v>43221</c:v>
                </c:pt>
                <c:pt idx="77">
                  <c:v>43252</c:v>
                </c:pt>
                <c:pt idx="78">
                  <c:v>43282</c:v>
                </c:pt>
                <c:pt idx="79">
                  <c:v>43313</c:v>
                </c:pt>
                <c:pt idx="80">
                  <c:v>43344</c:v>
                </c:pt>
                <c:pt idx="81">
                  <c:v>43374</c:v>
                </c:pt>
                <c:pt idx="82">
                  <c:v>43405</c:v>
                </c:pt>
                <c:pt idx="83">
                  <c:v>43435</c:v>
                </c:pt>
                <c:pt idx="84">
                  <c:v>43466</c:v>
                </c:pt>
                <c:pt idx="85">
                  <c:v>43497</c:v>
                </c:pt>
                <c:pt idx="86">
                  <c:v>43525</c:v>
                </c:pt>
                <c:pt idx="87">
                  <c:v>43556</c:v>
                </c:pt>
                <c:pt idx="88">
                  <c:v>43586</c:v>
                </c:pt>
                <c:pt idx="89">
                  <c:v>43617</c:v>
                </c:pt>
                <c:pt idx="90">
                  <c:v>43647</c:v>
                </c:pt>
                <c:pt idx="91">
                  <c:v>43678</c:v>
                </c:pt>
                <c:pt idx="92">
                  <c:v>43709</c:v>
                </c:pt>
                <c:pt idx="93">
                  <c:v>43739</c:v>
                </c:pt>
                <c:pt idx="94">
                  <c:v>43770</c:v>
                </c:pt>
                <c:pt idx="95">
                  <c:v>43800</c:v>
                </c:pt>
                <c:pt idx="96">
                  <c:v>43831</c:v>
                </c:pt>
                <c:pt idx="97">
                  <c:v>43862</c:v>
                </c:pt>
                <c:pt idx="98">
                  <c:v>43891</c:v>
                </c:pt>
                <c:pt idx="99">
                  <c:v>43922</c:v>
                </c:pt>
                <c:pt idx="100">
                  <c:v>43952</c:v>
                </c:pt>
                <c:pt idx="101">
                  <c:v>43983</c:v>
                </c:pt>
                <c:pt idx="102">
                  <c:v>44013</c:v>
                </c:pt>
                <c:pt idx="103">
                  <c:v>44044</c:v>
                </c:pt>
                <c:pt idx="104">
                  <c:v>44075</c:v>
                </c:pt>
                <c:pt idx="105">
                  <c:v>44105</c:v>
                </c:pt>
                <c:pt idx="106">
                  <c:v>44136</c:v>
                </c:pt>
                <c:pt idx="107">
                  <c:v>44166</c:v>
                </c:pt>
                <c:pt idx="108">
                  <c:v>44197</c:v>
                </c:pt>
                <c:pt idx="109">
                  <c:v>44228</c:v>
                </c:pt>
                <c:pt idx="110">
                  <c:v>44256</c:v>
                </c:pt>
                <c:pt idx="111">
                  <c:v>44287</c:v>
                </c:pt>
                <c:pt idx="112">
                  <c:v>44317</c:v>
                </c:pt>
                <c:pt idx="113">
                  <c:v>44348</c:v>
                </c:pt>
                <c:pt idx="114">
                  <c:v>44378</c:v>
                </c:pt>
                <c:pt idx="115">
                  <c:v>44409</c:v>
                </c:pt>
                <c:pt idx="116">
                  <c:v>44440</c:v>
                </c:pt>
                <c:pt idx="117">
                  <c:v>44470</c:v>
                </c:pt>
                <c:pt idx="118">
                  <c:v>44501</c:v>
                </c:pt>
                <c:pt idx="119">
                  <c:v>44531</c:v>
                </c:pt>
                <c:pt idx="120">
                  <c:v>44562</c:v>
                </c:pt>
                <c:pt idx="121">
                  <c:v>44593</c:v>
                </c:pt>
                <c:pt idx="122">
                  <c:v>44621</c:v>
                </c:pt>
                <c:pt idx="123">
                  <c:v>44652</c:v>
                </c:pt>
                <c:pt idx="124">
                  <c:v>44682</c:v>
                </c:pt>
                <c:pt idx="125">
                  <c:v>44713</c:v>
                </c:pt>
                <c:pt idx="126">
                  <c:v>44743</c:v>
                </c:pt>
                <c:pt idx="127">
                  <c:v>44774</c:v>
                </c:pt>
                <c:pt idx="128">
                  <c:v>44805</c:v>
                </c:pt>
                <c:pt idx="129">
                  <c:v>44835</c:v>
                </c:pt>
                <c:pt idx="130">
                  <c:v>44866</c:v>
                </c:pt>
                <c:pt idx="131">
                  <c:v>44896</c:v>
                </c:pt>
                <c:pt idx="132">
                  <c:v>44927</c:v>
                </c:pt>
                <c:pt idx="133">
                  <c:v>44958</c:v>
                </c:pt>
                <c:pt idx="134">
                  <c:v>44986</c:v>
                </c:pt>
                <c:pt idx="135">
                  <c:v>45017</c:v>
                </c:pt>
                <c:pt idx="136">
                  <c:v>45047</c:v>
                </c:pt>
                <c:pt idx="137">
                  <c:v>45078</c:v>
                </c:pt>
                <c:pt idx="138">
                  <c:v>45108</c:v>
                </c:pt>
                <c:pt idx="139">
                  <c:v>45139</c:v>
                </c:pt>
                <c:pt idx="140">
                  <c:v>45170</c:v>
                </c:pt>
                <c:pt idx="141">
                  <c:v>45200</c:v>
                </c:pt>
                <c:pt idx="142">
                  <c:v>45231</c:v>
                </c:pt>
                <c:pt idx="143">
                  <c:v>45261</c:v>
                </c:pt>
                <c:pt idx="144">
                  <c:v>45292</c:v>
                </c:pt>
                <c:pt idx="145">
                  <c:v>45323</c:v>
                </c:pt>
                <c:pt idx="146">
                  <c:v>45352</c:v>
                </c:pt>
                <c:pt idx="147">
                  <c:v>45383</c:v>
                </c:pt>
                <c:pt idx="148">
                  <c:v>45413</c:v>
                </c:pt>
                <c:pt idx="149">
                  <c:v>45444</c:v>
                </c:pt>
                <c:pt idx="150">
                  <c:v>45474</c:v>
                </c:pt>
                <c:pt idx="151">
                  <c:v>45505</c:v>
                </c:pt>
                <c:pt idx="152">
                  <c:v>45536</c:v>
                </c:pt>
                <c:pt idx="153">
                  <c:v>45566</c:v>
                </c:pt>
                <c:pt idx="154">
                  <c:v>45597</c:v>
                </c:pt>
                <c:pt idx="155">
                  <c:v>45627</c:v>
                </c:pt>
                <c:pt idx="156">
                  <c:v>45658</c:v>
                </c:pt>
                <c:pt idx="157">
                  <c:v>45689</c:v>
                </c:pt>
                <c:pt idx="158">
                  <c:v>45717</c:v>
                </c:pt>
                <c:pt idx="159">
                  <c:v>45748</c:v>
                </c:pt>
                <c:pt idx="160">
                  <c:v>45778</c:v>
                </c:pt>
                <c:pt idx="161">
                  <c:v>45809</c:v>
                </c:pt>
                <c:pt idx="162">
                  <c:v>45839</c:v>
                </c:pt>
                <c:pt idx="163">
                  <c:v>45870</c:v>
                </c:pt>
                <c:pt idx="164">
                  <c:v>45901</c:v>
                </c:pt>
                <c:pt idx="165">
                  <c:v>45931</c:v>
                </c:pt>
                <c:pt idx="166">
                  <c:v>45962</c:v>
                </c:pt>
                <c:pt idx="167">
                  <c:v>45992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  <c:pt idx="0">
                  <c:v>117</c:v>
                </c:pt>
                <c:pt idx="1">
                  <c:v>497</c:v>
                </c:pt>
                <c:pt idx="2">
                  <c:v>379</c:v>
                </c:pt>
                <c:pt idx="3">
                  <c:v>12</c:v>
                </c:pt>
                <c:pt idx="4">
                  <c:v>-523</c:v>
                </c:pt>
                <c:pt idx="5">
                  <c:v>-786</c:v>
                </c:pt>
                <c:pt idx="6">
                  <c:v>-922</c:v>
                </c:pt>
                <c:pt idx="7">
                  <c:v>-527</c:v>
                </c:pt>
                <c:pt idx="8">
                  <c:v>-916</c:v>
                </c:pt>
                <c:pt idx="9">
                  <c:v>-411</c:v>
                </c:pt>
                <c:pt idx="10">
                  <c:v>43</c:v>
                </c:pt>
                <c:pt idx="11">
                  <c:v>266</c:v>
                </c:pt>
                <c:pt idx="12">
                  <c:v>420</c:v>
                </c:pt>
                <c:pt idx="13">
                  <c:v>844</c:v>
                </c:pt>
                <c:pt idx="14">
                  <c:v>975</c:v>
                </c:pt>
                <c:pt idx="15">
                  <c:v>67</c:v>
                </c:pt>
                <c:pt idx="16">
                  <c:v>-118</c:v>
                </c:pt>
                <c:pt idx="17">
                  <c:v>-397</c:v>
                </c:pt>
                <c:pt idx="18">
                  <c:v>-848</c:v>
                </c:pt>
                <c:pt idx="19">
                  <c:v>-540</c:v>
                </c:pt>
                <c:pt idx="20">
                  <c:v>91</c:v>
                </c:pt>
                <c:pt idx="21">
                  <c:v>715</c:v>
                </c:pt>
                <c:pt idx="22">
                  <c:v>590</c:v>
                </c:pt>
                <c:pt idx="23">
                  <c:v>667</c:v>
                </c:pt>
                <c:pt idx="24">
                  <c:v>458</c:v>
                </c:pt>
                <c:pt idx="25">
                  <c:v>945</c:v>
                </c:pt>
                <c:pt idx="26">
                  <c:v>372</c:v>
                </c:pt>
                <c:pt idx="27">
                  <c:v>103</c:v>
                </c:pt>
                <c:pt idx="28">
                  <c:v>38</c:v>
                </c:pt>
                <c:pt idx="29">
                  <c:v>-113</c:v>
                </c:pt>
                <c:pt idx="30">
                  <c:v>-515</c:v>
                </c:pt>
                <c:pt idx="31">
                  <c:v>443</c:v>
                </c:pt>
                <c:pt idx="32">
                  <c:v>-125</c:v>
                </c:pt>
                <c:pt idx="33">
                  <c:v>240</c:v>
                </c:pt>
                <c:pt idx="34">
                  <c:v>436</c:v>
                </c:pt>
                <c:pt idx="35">
                  <c:v>795</c:v>
                </c:pt>
                <c:pt idx="36">
                  <c:v>644</c:v>
                </c:pt>
                <c:pt idx="37">
                  <c:v>696</c:v>
                </c:pt>
                <c:pt idx="38">
                  <c:v>607</c:v>
                </c:pt>
                <c:pt idx="39">
                  <c:v>263</c:v>
                </c:pt>
                <c:pt idx="40">
                  <c:v>-264</c:v>
                </c:pt>
                <c:pt idx="41">
                  <c:v>-518</c:v>
                </c:pt>
                <c:pt idx="42">
                  <c:v>-526</c:v>
                </c:pt>
                <c:pt idx="43">
                  <c:v>-571</c:v>
                </c:pt>
                <c:pt idx="44">
                  <c:v>-662</c:v>
                </c:pt>
                <c:pt idx="45">
                  <c:v>-6</c:v>
                </c:pt>
                <c:pt idx="46">
                  <c:v>496</c:v>
                </c:pt>
                <c:pt idx="47">
                  <c:v>319</c:v>
                </c:pt>
                <c:pt idx="48">
                  <c:v>459</c:v>
                </c:pt>
                <c:pt idx="49">
                  <c:v>400</c:v>
                </c:pt>
                <c:pt idx="50">
                  <c:v>179</c:v>
                </c:pt>
                <c:pt idx="51">
                  <c:v>265</c:v>
                </c:pt>
                <c:pt idx="52">
                  <c:v>-300</c:v>
                </c:pt>
                <c:pt idx="53">
                  <c:v>-644</c:v>
                </c:pt>
                <c:pt idx="54">
                  <c:v>-284</c:v>
                </c:pt>
                <c:pt idx="55">
                  <c:v>-441</c:v>
                </c:pt>
                <c:pt idx="56">
                  <c:v>-1016</c:v>
                </c:pt>
                <c:pt idx="57">
                  <c:v>-93</c:v>
                </c:pt>
                <c:pt idx="58">
                  <c:v>410</c:v>
                </c:pt>
                <c:pt idx="59">
                  <c:v>621</c:v>
                </c:pt>
                <c:pt idx="60">
                  <c:v>674</c:v>
                </c:pt>
                <c:pt idx="61">
                  <c:v>1014</c:v>
                </c:pt>
                <c:pt idx="62">
                  <c:v>557</c:v>
                </c:pt>
                <c:pt idx="63">
                  <c:v>211</c:v>
                </c:pt>
                <c:pt idx="64">
                  <c:v>-214</c:v>
                </c:pt>
                <c:pt idx="65">
                  <c:v>-254</c:v>
                </c:pt>
                <c:pt idx="66">
                  <c:v>-647</c:v>
                </c:pt>
                <c:pt idx="67">
                  <c:v>-368</c:v>
                </c:pt>
                <c:pt idx="68">
                  <c:v>-530</c:v>
                </c:pt>
                <c:pt idx="69">
                  <c:v>101</c:v>
                </c:pt>
                <c:pt idx="70">
                  <c:v>0</c:v>
                </c:pt>
                <c:pt idx="71">
                  <c:v>490</c:v>
                </c:pt>
                <c:pt idx="72">
                  <c:v>493</c:v>
                </c:pt>
                <c:pt idx="73">
                  <c:v>496</c:v>
                </c:pt>
                <c:pt idx="74">
                  <c:v>452</c:v>
                </c:pt>
                <c:pt idx="75">
                  <c:v>278</c:v>
                </c:pt>
                <c:pt idx="76">
                  <c:v>-240</c:v>
                </c:pt>
                <c:pt idx="77">
                  <c:v>-744</c:v>
                </c:pt>
                <c:pt idx="78">
                  <c:v>-413</c:v>
                </c:pt>
                <c:pt idx="79">
                  <c:v>-177</c:v>
                </c:pt>
                <c:pt idx="80">
                  <c:v>-413</c:v>
                </c:pt>
                <c:pt idx="81">
                  <c:v>38</c:v>
                </c:pt>
                <c:pt idx="82">
                  <c:v>213</c:v>
                </c:pt>
                <c:pt idx="83">
                  <c:v>634</c:v>
                </c:pt>
                <c:pt idx="84">
                  <c:v>546</c:v>
                </c:pt>
                <c:pt idx="85">
                  <c:v>613</c:v>
                </c:pt>
                <c:pt idx="86">
                  <c:v>304</c:v>
                </c:pt>
                <c:pt idx="87">
                  <c:v>-559</c:v>
                </c:pt>
                <c:pt idx="88">
                  <c:v>-642</c:v>
                </c:pt>
                <c:pt idx="89">
                  <c:v>-373</c:v>
                </c:pt>
                <c:pt idx="90">
                  <c:v>-960</c:v>
                </c:pt>
                <c:pt idx="91">
                  <c:v>-538</c:v>
                </c:pt>
                <c:pt idx="92">
                  <c:v>-738</c:v>
                </c:pt>
                <c:pt idx="93">
                  <c:v>-447</c:v>
                </c:pt>
                <c:pt idx="94">
                  <c:v>-25</c:v>
                </c:pt>
                <c:pt idx="95">
                  <c:v>295</c:v>
                </c:pt>
                <c:pt idx="96">
                  <c:v>225</c:v>
                </c:pt>
                <c:pt idx="97">
                  <c:v>194</c:v>
                </c:pt>
                <c:pt idx="98">
                  <c:v>-540</c:v>
                </c:pt>
                <c:pt idx="99">
                  <c:v>-796</c:v>
                </c:pt>
                <c:pt idx="100">
                  <c:v>-998</c:v>
                </c:pt>
                <c:pt idx="101">
                  <c:v>-1261</c:v>
                </c:pt>
                <c:pt idx="102">
                  <c:v>-854</c:v>
                </c:pt>
                <c:pt idx="103">
                  <c:v>-778</c:v>
                </c:pt>
                <c:pt idx="104">
                  <c:v>-1285</c:v>
                </c:pt>
                <c:pt idx="105">
                  <c:v>-227</c:v>
                </c:pt>
                <c:pt idx="106">
                  <c:v>-122</c:v>
                </c:pt>
                <c:pt idx="107">
                  <c:v>55</c:v>
                </c:pt>
                <c:pt idx="108">
                  <c:v>5632</c:v>
                </c:pt>
                <c:pt idx="109">
                  <c:v>818</c:v>
                </c:pt>
                <c:pt idx="110">
                  <c:v>371</c:v>
                </c:pt>
                <c:pt idx="111">
                  <c:v>6</c:v>
                </c:pt>
                <c:pt idx="112">
                  <c:v>2622</c:v>
                </c:pt>
                <c:pt idx="113">
                  <c:v>-357</c:v>
                </c:pt>
                <c:pt idx="114">
                  <c:v>-196</c:v>
                </c:pt>
                <c:pt idx="115">
                  <c:v>210</c:v>
                </c:pt>
                <c:pt idx="116">
                  <c:v>-185</c:v>
                </c:pt>
                <c:pt idx="117">
                  <c:v>3418</c:v>
                </c:pt>
                <c:pt idx="118">
                  <c:v>1083</c:v>
                </c:pt>
                <c:pt idx="119">
                  <c:v>1595</c:v>
                </c:pt>
                <c:pt idx="120">
                  <c:v>2022</c:v>
                </c:pt>
                <c:pt idx="121">
                  <c:v>945</c:v>
                </c:pt>
                <c:pt idx="122">
                  <c:v>1010</c:v>
                </c:pt>
                <c:pt idx="123">
                  <c:v>569</c:v>
                </c:pt>
                <c:pt idx="124">
                  <c:v>480</c:v>
                </c:pt>
                <c:pt idx="125">
                  <c:v>418</c:v>
                </c:pt>
                <c:pt idx="126">
                  <c:v>815</c:v>
                </c:pt>
                <c:pt idx="127">
                  <c:v>536</c:v>
                </c:pt>
                <c:pt idx="128">
                  <c:v>-618</c:v>
                </c:pt>
                <c:pt idx="129">
                  <c:v>-557</c:v>
                </c:pt>
                <c:pt idx="130">
                  <c:v>-609</c:v>
                </c:pt>
                <c:pt idx="131">
                  <c:v>-603</c:v>
                </c:pt>
                <c:pt idx="132">
                  <c:v>-58</c:v>
                </c:pt>
                <c:pt idx="133">
                  <c:v>-412</c:v>
                </c:pt>
                <c:pt idx="134">
                  <c:v>-631</c:v>
                </c:pt>
                <c:pt idx="135">
                  <c:v>-882</c:v>
                </c:pt>
                <c:pt idx="136">
                  <c:v>-1208</c:v>
                </c:pt>
                <c:pt idx="137">
                  <c:v>-1610</c:v>
                </c:pt>
                <c:pt idx="138">
                  <c:v>-1900</c:v>
                </c:pt>
                <c:pt idx="139">
                  <c:v>-1854</c:v>
                </c:pt>
                <c:pt idx="140">
                  <c:v>-1773</c:v>
                </c:pt>
                <c:pt idx="141">
                  <c:v>-1500</c:v>
                </c:pt>
                <c:pt idx="142">
                  <c:v>-1252</c:v>
                </c:pt>
                <c:pt idx="143">
                  <c:v>-1080</c:v>
                </c:pt>
                <c:pt idx="144">
                  <c:v>-145</c:v>
                </c:pt>
                <c:pt idx="145">
                  <c:v>-879</c:v>
                </c:pt>
                <c:pt idx="146">
                  <c:v>389</c:v>
                </c:pt>
                <c:pt idx="147">
                  <c:v>352</c:v>
                </c:pt>
                <c:pt idx="148">
                  <c:v>1395</c:v>
                </c:pt>
                <c:pt idx="149">
                  <c:v>-904</c:v>
                </c:pt>
                <c:pt idx="150">
                  <c:v>-304</c:v>
                </c:pt>
                <c:pt idx="151">
                  <c:v>-489</c:v>
                </c:pt>
                <c:pt idx="152">
                  <c:v>223</c:v>
                </c:pt>
                <c:pt idx="153" formatCode="#,##0">
                  <c:v>-135</c:v>
                </c:pt>
                <c:pt idx="154" formatCode="#,##0">
                  <c:v>396</c:v>
                </c:pt>
                <c:pt idx="155" formatCode="#,##0">
                  <c:v>-79</c:v>
                </c:pt>
                <c:pt idx="156" formatCode="#,##0">
                  <c:v>876</c:v>
                </c:pt>
                <c:pt idx="157" formatCode="#,##0">
                  <c:v>101</c:v>
                </c:pt>
                <c:pt idx="158" formatCode="#,##0">
                  <c:v>-588</c:v>
                </c:pt>
                <c:pt idx="159" formatCode="#,##0">
                  <c:v>-172</c:v>
                </c:pt>
                <c:pt idx="160" formatCode="#,##0">
                  <c:v>-133</c:v>
                </c:pt>
                <c:pt idx="161" formatCode="#,##0">
                  <c:v>86</c:v>
                </c:pt>
                <c:pt idx="162" formatCode="#,##0">
                  <c:v>-206.61457164000001</c:v>
                </c:pt>
                <c:pt idx="163" formatCode="#,##0">
                  <c:v>914.98347318999993</c:v>
                </c:pt>
                <c:pt idx="164" formatCode="#,##0">
                  <c:v>632.52993876000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4C-4077-B0EF-D5EEE29CD0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77834496"/>
        <c:axId val="77873152"/>
      </c:barChart>
      <c:lineChart>
        <c:grouping val="standard"/>
        <c:varyColors val="0"/>
        <c:ser>
          <c:idx val="4"/>
          <c:order val="0"/>
          <c:tx>
            <c:strRef>
              <c:f>Sheet1!$B$1</c:f>
              <c:strCache>
                <c:ptCount val="1"/>
                <c:pt idx="0">
                  <c:v>EEG-Kontostand</c:v>
                </c:pt>
              </c:strCache>
            </c:strRef>
          </c:tx>
          <c:spPr>
            <a:ln w="15875">
              <a:solidFill>
                <a:schemeClr val="accent5"/>
              </a:solidFill>
              <a:prstDash val="solid"/>
            </a:ln>
          </c:spPr>
          <c:marker>
            <c:symbol val="circle"/>
            <c:size val="3"/>
            <c:spPr>
              <a:solidFill>
                <a:schemeClr val="accent5"/>
              </a:solidFill>
              <a:ln>
                <a:noFill/>
                <a:prstDash val="solid"/>
              </a:ln>
            </c:spPr>
          </c:marker>
          <c:dLbls>
            <c:dLbl>
              <c:idx val="164"/>
              <c:layout>
                <c:manualLayout>
                  <c:x val="-1.3567746321366137E-2"/>
                  <c:y val="-3.52716640226805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316-4D49-B16B-8754C386205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rgbClr val="91B800"/>
                    </a:solidFill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69</c:f>
              <c:numCache>
                <c:formatCode>mmm\-yy</c:formatCode>
                <c:ptCount val="168"/>
                <c:pt idx="0">
                  <c:v>40909</c:v>
                </c:pt>
                <c:pt idx="1">
                  <c:v>40940</c:v>
                </c:pt>
                <c:pt idx="2">
                  <c:v>40969</c:v>
                </c:pt>
                <c:pt idx="3">
                  <c:v>41000</c:v>
                </c:pt>
                <c:pt idx="4">
                  <c:v>41030</c:v>
                </c:pt>
                <c:pt idx="5">
                  <c:v>41061</c:v>
                </c:pt>
                <c:pt idx="6">
                  <c:v>41091</c:v>
                </c:pt>
                <c:pt idx="7">
                  <c:v>41122</c:v>
                </c:pt>
                <c:pt idx="8">
                  <c:v>41153</c:v>
                </c:pt>
                <c:pt idx="9">
                  <c:v>41183</c:v>
                </c:pt>
                <c:pt idx="10">
                  <c:v>41214</c:v>
                </c:pt>
                <c:pt idx="11">
                  <c:v>41244</c:v>
                </c:pt>
                <c:pt idx="12">
                  <c:v>41275</c:v>
                </c:pt>
                <c:pt idx="13">
                  <c:v>41306</c:v>
                </c:pt>
                <c:pt idx="14">
                  <c:v>41334</c:v>
                </c:pt>
                <c:pt idx="15">
                  <c:v>41365</c:v>
                </c:pt>
                <c:pt idx="16">
                  <c:v>41395</c:v>
                </c:pt>
                <c:pt idx="17">
                  <c:v>41426</c:v>
                </c:pt>
                <c:pt idx="18">
                  <c:v>41456</c:v>
                </c:pt>
                <c:pt idx="19">
                  <c:v>41487</c:v>
                </c:pt>
                <c:pt idx="20">
                  <c:v>41518</c:v>
                </c:pt>
                <c:pt idx="21">
                  <c:v>41548</c:v>
                </c:pt>
                <c:pt idx="22">
                  <c:v>41579</c:v>
                </c:pt>
                <c:pt idx="23">
                  <c:v>41609</c:v>
                </c:pt>
                <c:pt idx="24">
                  <c:v>41640</c:v>
                </c:pt>
                <c:pt idx="25">
                  <c:v>41671</c:v>
                </c:pt>
                <c:pt idx="26">
                  <c:v>41699</c:v>
                </c:pt>
                <c:pt idx="27">
                  <c:v>41730</c:v>
                </c:pt>
                <c:pt idx="28">
                  <c:v>41760</c:v>
                </c:pt>
                <c:pt idx="29">
                  <c:v>41791</c:v>
                </c:pt>
                <c:pt idx="30">
                  <c:v>41821</c:v>
                </c:pt>
                <c:pt idx="31">
                  <c:v>41852</c:v>
                </c:pt>
                <c:pt idx="32">
                  <c:v>41883</c:v>
                </c:pt>
                <c:pt idx="33">
                  <c:v>41913</c:v>
                </c:pt>
                <c:pt idx="34">
                  <c:v>41944</c:v>
                </c:pt>
                <c:pt idx="35">
                  <c:v>41974</c:v>
                </c:pt>
                <c:pt idx="36">
                  <c:v>42005</c:v>
                </c:pt>
                <c:pt idx="37">
                  <c:v>42036</c:v>
                </c:pt>
                <c:pt idx="38">
                  <c:v>42064</c:v>
                </c:pt>
                <c:pt idx="39">
                  <c:v>42095</c:v>
                </c:pt>
                <c:pt idx="40">
                  <c:v>42125</c:v>
                </c:pt>
                <c:pt idx="41">
                  <c:v>42156</c:v>
                </c:pt>
                <c:pt idx="42">
                  <c:v>42186</c:v>
                </c:pt>
                <c:pt idx="43">
                  <c:v>42217</c:v>
                </c:pt>
                <c:pt idx="44">
                  <c:v>42248</c:v>
                </c:pt>
                <c:pt idx="45">
                  <c:v>42278</c:v>
                </c:pt>
                <c:pt idx="46">
                  <c:v>42309</c:v>
                </c:pt>
                <c:pt idx="47">
                  <c:v>42339</c:v>
                </c:pt>
                <c:pt idx="48">
                  <c:v>42370</c:v>
                </c:pt>
                <c:pt idx="49">
                  <c:v>42401</c:v>
                </c:pt>
                <c:pt idx="50">
                  <c:v>42430</c:v>
                </c:pt>
                <c:pt idx="51">
                  <c:v>42461</c:v>
                </c:pt>
                <c:pt idx="52">
                  <c:v>42491</c:v>
                </c:pt>
                <c:pt idx="53">
                  <c:v>42522</c:v>
                </c:pt>
                <c:pt idx="54">
                  <c:v>42552</c:v>
                </c:pt>
                <c:pt idx="55">
                  <c:v>42583</c:v>
                </c:pt>
                <c:pt idx="56">
                  <c:v>42614</c:v>
                </c:pt>
                <c:pt idx="57">
                  <c:v>42644</c:v>
                </c:pt>
                <c:pt idx="58">
                  <c:v>42675</c:v>
                </c:pt>
                <c:pt idx="59">
                  <c:v>42705</c:v>
                </c:pt>
                <c:pt idx="60">
                  <c:v>42736</c:v>
                </c:pt>
                <c:pt idx="61">
                  <c:v>42767</c:v>
                </c:pt>
                <c:pt idx="62">
                  <c:v>42795</c:v>
                </c:pt>
                <c:pt idx="63">
                  <c:v>42826</c:v>
                </c:pt>
                <c:pt idx="64">
                  <c:v>42856</c:v>
                </c:pt>
                <c:pt idx="65">
                  <c:v>42887</c:v>
                </c:pt>
                <c:pt idx="66">
                  <c:v>42917</c:v>
                </c:pt>
                <c:pt idx="67">
                  <c:v>42948</c:v>
                </c:pt>
                <c:pt idx="68">
                  <c:v>42979</c:v>
                </c:pt>
                <c:pt idx="69">
                  <c:v>43009</c:v>
                </c:pt>
                <c:pt idx="70">
                  <c:v>43040</c:v>
                </c:pt>
                <c:pt idx="71">
                  <c:v>43070</c:v>
                </c:pt>
                <c:pt idx="72">
                  <c:v>43101</c:v>
                </c:pt>
                <c:pt idx="73">
                  <c:v>43132</c:v>
                </c:pt>
                <c:pt idx="74">
                  <c:v>43160</c:v>
                </c:pt>
                <c:pt idx="75">
                  <c:v>43191</c:v>
                </c:pt>
                <c:pt idx="76">
                  <c:v>43221</c:v>
                </c:pt>
                <c:pt idx="77">
                  <c:v>43252</c:v>
                </c:pt>
                <c:pt idx="78">
                  <c:v>43282</c:v>
                </c:pt>
                <c:pt idx="79">
                  <c:v>43313</c:v>
                </c:pt>
                <c:pt idx="80">
                  <c:v>43344</c:v>
                </c:pt>
                <c:pt idx="81">
                  <c:v>43374</c:v>
                </c:pt>
                <c:pt idx="82">
                  <c:v>43405</c:v>
                </c:pt>
                <c:pt idx="83">
                  <c:v>43435</c:v>
                </c:pt>
                <c:pt idx="84">
                  <c:v>43466</c:v>
                </c:pt>
                <c:pt idx="85">
                  <c:v>43497</c:v>
                </c:pt>
                <c:pt idx="86">
                  <c:v>43525</c:v>
                </c:pt>
                <c:pt idx="87">
                  <c:v>43556</c:v>
                </c:pt>
                <c:pt idx="88">
                  <c:v>43586</c:v>
                </c:pt>
                <c:pt idx="89">
                  <c:v>43617</c:v>
                </c:pt>
                <c:pt idx="90">
                  <c:v>43647</c:v>
                </c:pt>
                <c:pt idx="91">
                  <c:v>43678</c:v>
                </c:pt>
                <c:pt idx="92">
                  <c:v>43709</c:v>
                </c:pt>
                <c:pt idx="93">
                  <c:v>43739</c:v>
                </c:pt>
                <c:pt idx="94">
                  <c:v>43770</c:v>
                </c:pt>
                <c:pt idx="95">
                  <c:v>43800</c:v>
                </c:pt>
                <c:pt idx="96">
                  <c:v>43831</c:v>
                </c:pt>
                <c:pt idx="97">
                  <c:v>43862</c:v>
                </c:pt>
                <c:pt idx="98">
                  <c:v>43891</c:v>
                </c:pt>
                <c:pt idx="99">
                  <c:v>43922</c:v>
                </c:pt>
                <c:pt idx="100">
                  <c:v>43952</c:v>
                </c:pt>
                <c:pt idx="101">
                  <c:v>43983</c:v>
                </c:pt>
                <c:pt idx="102">
                  <c:v>44013</c:v>
                </c:pt>
                <c:pt idx="103">
                  <c:v>44044</c:v>
                </c:pt>
                <c:pt idx="104">
                  <c:v>44075</c:v>
                </c:pt>
                <c:pt idx="105">
                  <c:v>44105</c:v>
                </c:pt>
                <c:pt idx="106">
                  <c:v>44136</c:v>
                </c:pt>
                <c:pt idx="107">
                  <c:v>44166</c:v>
                </c:pt>
                <c:pt idx="108">
                  <c:v>44197</c:v>
                </c:pt>
                <c:pt idx="109">
                  <c:v>44228</c:v>
                </c:pt>
                <c:pt idx="110">
                  <c:v>44256</c:v>
                </c:pt>
                <c:pt idx="111">
                  <c:v>44287</c:v>
                </c:pt>
                <c:pt idx="112">
                  <c:v>44317</c:v>
                </c:pt>
                <c:pt idx="113">
                  <c:v>44348</c:v>
                </c:pt>
                <c:pt idx="114">
                  <c:v>44378</c:v>
                </c:pt>
                <c:pt idx="115">
                  <c:v>44409</c:v>
                </c:pt>
                <c:pt idx="116">
                  <c:v>44440</c:v>
                </c:pt>
                <c:pt idx="117">
                  <c:v>44470</c:v>
                </c:pt>
                <c:pt idx="118">
                  <c:v>44501</c:v>
                </c:pt>
                <c:pt idx="119">
                  <c:v>44531</c:v>
                </c:pt>
                <c:pt idx="120">
                  <c:v>44562</c:v>
                </c:pt>
                <c:pt idx="121">
                  <c:v>44593</c:v>
                </c:pt>
                <c:pt idx="122">
                  <c:v>44621</c:v>
                </c:pt>
                <c:pt idx="123">
                  <c:v>44652</c:v>
                </c:pt>
                <c:pt idx="124">
                  <c:v>44682</c:v>
                </c:pt>
                <c:pt idx="125">
                  <c:v>44713</c:v>
                </c:pt>
                <c:pt idx="126">
                  <c:v>44743</c:v>
                </c:pt>
                <c:pt idx="127">
                  <c:v>44774</c:v>
                </c:pt>
                <c:pt idx="128">
                  <c:v>44805</c:v>
                </c:pt>
                <c:pt idx="129">
                  <c:v>44835</c:v>
                </c:pt>
                <c:pt idx="130">
                  <c:v>44866</c:v>
                </c:pt>
                <c:pt idx="131">
                  <c:v>44896</c:v>
                </c:pt>
                <c:pt idx="132">
                  <c:v>44927</c:v>
                </c:pt>
                <c:pt idx="133">
                  <c:v>44958</c:v>
                </c:pt>
                <c:pt idx="134">
                  <c:v>44986</c:v>
                </c:pt>
                <c:pt idx="135">
                  <c:v>45017</c:v>
                </c:pt>
                <c:pt idx="136">
                  <c:v>45047</c:v>
                </c:pt>
                <c:pt idx="137">
                  <c:v>45078</c:v>
                </c:pt>
                <c:pt idx="138">
                  <c:v>45108</c:v>
                </c:pt>
                <c:pt idx="139">
                  <c:v>45139</c:v>
                </c:pt>
                <c:pt idx="140">
                  <c:v>45170</c:v>
                </c:pt>
                <c:pt idx="141">
                  <c:v>45200</c:v>
                </c:pt>
                <c:pt idx="142">
                  <c:v>45231</c:v>
                </c:pt>
                <c:pt idx="143">
                  <c:v>45261</c:v>
                </c:pt>
                <c:pt idx="144">
                  <c:v>45292</c:v>
                </c:pt>
                <c:pt idx="145">
                  <c:v>45323</c:v>
                </c:pt>
                <c:pt idx="146">
                  <c:v>45352</c:v>
                </c:pt>
                <c:pt idx="147">
                  <c:v>45383</c:v>
                </c:pt>
                <c:pt idx="148">
                  <c:v>45413</c:v>
                </c:pt>
                <c:pt idx="149">
                  <c:v>45444</c:v>
                </c:pt>
                <c:pt idx="150">
                  <c:v>45474</c:v>
                </c:pt>
                <c:pt idx="151">
                  <c:v>45505</c:v>
                </c:pt>
                <c:pt idx="152">
                  <c:v>45536</c:v>
                </c:pt>
                <c:pt idx="153">
                  <c:v>45566</c:v>
                </c:pt>
                <c:pt idx="154">
                  <c:v>45597</c:v>
                </c:pt>
                <c:pt idx="155">
                  <c:v>45627</c:v>
                </c:pt>
                <c:pt idx="156">
                  <c:v>45658</c:v>
                </c:pt>
                <c:pt idx="157">
                  <c:v>45689</c:v>
                </c:pt>
                <c:pt idx="158">
                  <c:v>45717</c:v>
                </c:pt>
                <c:pt idx="159">
                  <c:v>45748</c:v>
                </c:pt>
                <c:pt idx="160">
                  <c:v>45778</c:v>
                </c:pt>
                <c:pt idx="161">
                  <c:v>45809</c:v>
                </c:pt>
                <c:pt idx="162">
                  <c:v>45839</c:v>
                </c:pt>
                <c:pt idx="163">
                  <c:v>45870</c:v>
                </c:pt>
                <c:pt idx="164">
                  <c:v>45901</c:v>
                </c:pt>
                <c:pt idx="165">
                  <c:v>45931</c:v>
                </c:pt>
                <c:pt idx="166">
                  <c:v>45962</c:v>
                </c:pt>
                <c:pt idx="167">
                  <c:v>45992</c:v>
                </c:pt>
              </c:numCache>
            </c:numRef>
          </c:cat>
          <c:val>
            <c:numRef>
              <c:f>Sheet1!$B$2:$B$169</c:f>
              <c:numCache>
                <c:formatCode>General</c:formatCode>
                <c:ptCount val="168"/>
                <c:pt idx="0">
                  <c:v>197</c:v>
                </c:pt>
                <c:pt idx="1">
                  <c:v>694</c:v>
                </c:pt>
                <c:pt idx="2">
                  <c:v>1073</c:v>
                </c:pt>
                <c:pt idx="3">
                  <c:v>1085</c:v>
                </c:pt>
                <c:pt idx="4">
                  <c:v>562</c:v>
                </c:pt>
                <c:pt idx="5">
                  <c:v>-224</c:v>
                </c:pt>
                <c:pt idx="6">
                  <c:v>-1146</c:v>
                </c:pt>
                <c:pt idx="7">
                  <c:v>-1673</c:v>
                </c:pt>
                <c:pt idx="8">
                  <c:v>-2589</c:v>
                </c:pt>
                <c:pt idx="9">
                  <c:v>-3000</c:v>
                </c:pt>
                <c:pt idx="10">
                  <c:v>-2957</c:v>
                </c:pt>
                <c:pt idx="11">
                  <c:v>-2691</c:v>
                </c:pt>
                <c:pt idx="12">
                  <c:v>-2271</c:v>
                </c:pt>
                <c:pt idx="13">
                  <c:v>-1427</c:v>
                </c:pt>
                <c:pt idx="14">
                  <c:v>-452</c:v>
                </c:pt>
                <c:pt idx="15">
                  <c:v>-385</c:v>
                </c:pt>
                <c:pt idx="16">
                  <c:v>-503</c:v>
                </c:pt>
                <c:pt idx="17">
                  <c:v>-900</c:v>
                </c:pt>
                <c:pt idx="18">
                  <c:v>-1748</c:v>
                </c:pt>
                <c:pt idx="19">
                  <c:v>-2288</c:v>
                </c:pt>
                <c:pt idx="20">
                  <c:v>-2197</c:v>
                </c:pt>
                <c:pt idx="21">
                  <c:v>-1482</c:v>
                </c:pt>
                <c:pt idx="22">
                  <c:v>-892</c:v>
                </c:pt>
                <c:pt idx="23">
                  <c:v>-225</c:v>
                </c:pt>
                <c:pt idx="24">
                  <c:v>233</c:v>
                </c:pt>
                <c:pt idx="25">
                  <c:v>1178</c:v>
                </c:pt>
                <c:pt idx="26">
                  <c:v>1550</c:v>
                </c:pt>
                <c:pt idx="27">
                  <c:v>1653</c:v>
                </c:pt>
                <c:pt idx="28">
                  <c:v>1691</c:v>
                </c:pt>
                <c:pt idx="29">
                  <c:v>1578</c:v>
                </c:pt>
                <c:pt idx="30">
                  <c:v>1063</c:v>
                </c:pt>
                <c:pt idx="31">
                  <c:v>1506</c:v>
                </c:pt>
                <c:pt idx="32">
                  <c:v>1381</c:v>
                </c:pt>
                <c:pt idx="33">
                  <c:v>1621</c:v>
                </c:pt>
                <c:pt idx="34">
                  <c:v>2057</c:v>
                </c:pt>
                <c:pt idx="35">
                  <c:v>2852</c:v>
                </c:pt>
                <c:pt idx="36">
                  <c:v>3496</c:v>
                </c:pt>
                <c:pt idx="37">
                  <c:v>4192</c:v>
                </c:pt>
                <c:pt idx="38">
                  <c:v>4799</c:v>
                </c:pt>
                <c:pt idx="39">
                  <c:v>5062</c:v>
                </c:pt>
                <c:pt idx="40">
                  <c:v>4798</c:v>
                </c:pt>
                <c:pt idx="41">
                  <c:v>4280</c:v>
                </c:pt>
                <c:pt idx="42">
                  <c:v>3754</c:v>
                </c:pt>
                <c:pt idx="43">
                  <c:v>3183</c:v>
                </c:pt>
                <c:pt idx="44">
                  <c:v>2521</c:v>
                </c:pt>
                <c:pt idx="45">
                  <c:v>2515</c:v>
                </c:pt>
                <c:pt idx="46">
                  <c:v>3011</c:v>
                </c:pt>
                <c:pt idx="47">
                  <c:v>3330</c:v>
                </c:pt>
                <c:pt idx="48">
                  <c:v>3789</c:v>
                </c:pt>
                <c:pt idx="49">
                  <c:v>4189</c:v>
                </c:pt>
                <c:pt idx="50">
                  <c:v>4368</c:v>
                </c:pt>
                <c:pt idx="51">
                  <c:v>4633</c:v>
                </c:pt>
                <c:pt idx="52">
                  <c:v>4333</c:v>
                </c:pt>
                <c:pt idx="53">
                  <c:v>3689</c:v>
                </c:pt>
                <c:pt idx="54">
                  <c:v>3405</c:v>
                </c:pt>
                <c:pt idx="55">
                  <c:v>2964</c:v>
                </c:pt>
                <c:pt idx="56">
                  <c:v>1948</c:v>
                </c:pt>
                <c:pt idx="57">
                  <c:v>1855</c:v>
                </c:pt>
                <c:pt idx="58">
                  <c:v>2265</c:v>
                </c:pt>
                <c:pt idx="59">
                  <c:v>2886</c:v>
                </c:pt>
                <c:pt idx="60">
                  <c:v>3560</c:v>
                </c:pt>
                <c:pt idx="61">
                  <c:v>4574</c:v>
                </c:pt>
                <c:pt idx="62">
                  <c:v>5131</c:v>
                </c:pt>
                <c:pt idx="63">
                  <c:v>5342</c:v>
                </c:pt>
                <c:pt idx="64">
                  <c:v>5128</c:v>
                </c:pt>
                <c:pt idx="65">
                  <c:v>4874</c:v>
                </c:pt>
                <c:pt idx="66">
                  <c:v>4227</c:v>
                </c:pt>
                <c:pt idx="67">
                  <c:v>3859</c:v>
                </c:pt>
                <c:pt idx="68">
                  <c:v>3329</c:v>
                </c:pt>
                <c:pt idx="69">
                  <c:v>3430</c:v>
                </c:pt>
                <c:pt idx="70">
                  <c:v>3430</c:v>
                </c:pt>
                <c:pt idx="71">
                  <c:v>3920</c:v>
                </c:pt>
                <c:pt idx="72">
                  <c:v>4413</c:v>
                </c:pt>
                <c:pt idx="73">
                  <c:v>4909</c:v>
                </c:pt>
                <c:pt idx="74">
                  <c:v>5361</c:v>
                </c:pt>
                <c:pt idx="75">
                  <c:v>5639</c:v>
                </c:pt>
                <c:pt idx="76">
                  <c:v>5399</c:v>
                </c:pt>
                <c:pt idx="77">
                  <c:v>4655</c:v>
                </c:pt>
                <c:pt idx="78">
                  <c:v>4242</c:v>
                </c:pt>
                <c:pt idx="79">
                  <c:v>4065</c:v>
                </c:pt>
                <c:pt idx="80">
                  <c:v>3652</c:v>
                </c:pt>
                <c:pt idx="81">
                  <c:v>3690</c:v>
                </c:pt>
                <c:pt idx="82">
                  <c:v>3903</c:v>
                </c:pt>
                <c:pt idx="83">
                  <c:v>4537</c:v>
                </c:pt>
                <c:pt idx="84">
                  <c:v>5083</c:v>
                </c:pt>
                <c:pt idx="85">
                  <c:v>5696</c:v>
                </c:pt>
                <c:pt idx="86">
                  <c:v>6000</c:v>
                </c:pt>
                <c:pt idx="87">
                  <c:v>5441</c:v>
                </c:pt>
                <c:pt idx="88">
                  <c:v>4799</c:v>
                </c:pt>
                <c:pt idx="89">
                  <c:v>4426</c:v>
                </c:pt>
                <c:pt idx="90">
                  <c:v>3466</c:v>
                </c:pt>
                <c:pt idx="91">
                  <c:v>2928</c:v>
                </c:pt>
                <c:pt idx="92">
                  <c:v>2190</c:v>
                </c:pt>
                <c:pt idx="93">
                  <c:v>1743</c:v>
                </c:pt>
                <c:pt idx="94">
                  <c:v>1718</c:v>
                </c:pt>
                <c:pt idx="95">
                  <c:v>2013</c:v>
                </c:pt>
                <c:pt idx="96">
                  <c:v>2238</c:v>
                </c:pt>
                <c:pt idx="97">
                  <c:v>2432</c:v>
                </c:pt>
                <c:pt idx="98">
                  <c:v>1892</c:v>
                </c:pt>
                <c:pt idx="99">
                  <c:v>1096</c:v>
                </c:pt>
                <c:pt idx="100">
                  <c:v>98</c:v>
                </c:pt>
                <c:pt idx="101">
                  <c:v>-1163</c:v>
                </c:pt>
                <c:pt idx="102">
                  <c:v>-2017</c:v>
                </c:pt>
                <c:pt idx="103">
                  <c:v>-2795</c:v>
                </c:pt>
                <c:pt idx="104">
                  <c:v>-4080</c:v>
                </c:pt>
                <c:pt idx="105">
                  <c:v>-4307</c:v>
                </c:pt>
                <c:pt idx="106">
                  <c:v>-4429</c:v>
                </c:pt>
                <c:pt idx="107">
                  <c:v>-4374</c:v>
                </c:pt>
                <c:pt idx="108">
                  <c:v>1258</c:v>
                </c:pt>
                <c:pt idx="109">
                  <c:v>2076</c:v>
                </c:pt>
                <c:pt idx="110">
                  <c:v>2447</c:v>
                </c:pt>
                <c:pt idx="111">
                  <c:v>2453</c:v>
                </c:pt>
                <c:pt idx="112">
                  <c:v>5075</c:v>
                </c:pt>
                <c:pt idx="113">
                  <c:v>4718</c:v>
                </c:pt>
                <c:pt idx="114">
                  <c:v>4522</c:v>
                </c:pt>
                <c:pt idx="115">
                  <c:v>4732</c:v>
                </c:pt>
                <c:pt idx="116">
                  <c:v>4547</c:v>
                </c:pt>
                <c:pt idx="117">
                  <c:v>7965</c:v>
                </c:pt>
                <c:pt idx="118">
                  <c:v>9048</c:v>
                </c:pt>
                <c:pt idx="119">
                  <c:v>10643</c:v>
                </c:pt>
                <c:pt idx="120">
                  <c:v>12665</c:v>
                </c:pt>
                <c:pt idx="121">
                  <c:v>13610</c:v>
                </c:pt>
                <c:pt idx="122">
                  <c:v>14620</c:v>
                </c:pt>
                <c:pt idx="123">
                  <c:v>15189</c:v>
                </c:pt>
                <c:pt idx="124">
                  <c:v>15669</c:v>
                </c:pt>
                <c:pt idx="125">
                  <c:v>16087</c:v>
                </c:pt>
                <c:pt idx="126">
                  <c:v>16902</c:v>
                </c:pt>
                <c:pt idx="127">
                  <c:v>17438</c:v>
                </c:pt>
                <c:pt idx="128">
                  <c:v>16820</c:v>
                </c:pt>
                <c:pt idx="129">
                  <c:v>16263</c:v>
                </c:pt>
                <c:pt idx="130">
                  <c:v>15654</c:v>
                </c:pt>
                <c:pt idx="131">
                  <c:v>15051</c:v>
                </c:pt>
                <c:pt idx="132">
                  <c:v>14993</c:v>
                </c:pt>
                <c:pt idx="133">
                  <c:v>14581</c:v>
                </c:pt>
                <c:pt idx="134">
                  <c:v>13950</c:v>
                </c:pt>
                <c:pt idx="135">
                  <c:v>13068</c:v>
                </c:pt>
                <c:pt idx="136">
                  <c:v>11860</c:v>
                </c:pt>
                <c:pt idx="137">
                  <c:v>10250</c:v>
                </c:pt>
                <c:pt idx="138">
                  <c:v>8350</c:v>
                </c:pt>
                <c:pt idx="139">
                  <c:v>6496</c:v>
                </c:pt>
                <c:pt idx="140">
                  <c:v>4723</c:v>
                </c:pt>
                <c:pt idx="141">
                  <c:v>3223</c:v>
                </c:pt>
                <c:pt idx="142">
                  <c:v>1971</c:v>
                </c:pt>
                <c:pt idx="143">
                  <c:v>891</c:v>
                </c:pt>
                <c:pt idx="144">
                  <c:v>746</c:v>
                </c:pt>
                <c:pt idx="145">
                  <c:v>-133</c:v>
                </c:pt>
                <c:pt idx="146">
                  <c:v>256</c:v>
                </c:pt>
                <c:pt idx="147">
                  <c:v>608</c:v>
                </c:pt>
                <c:pt idx="148">
                  <c:v>2003</c:v>
                </c:pt>
                <c:pt idx="149">
                  <c:v>1099</c:v>
                </c:pt>
                <c:pt idx="150">
                  <c:v>795</c:v>
                </c:pt>
                <c:pt idx="151">
                  <c:v>306</c:v>
                </c:pt>
                <c:pt idx="152">
                  <c:v>529</c:v>
                </c:pt>
                <c:pt idx="153" formatCode="#,##0">
                  <c:v>394</c:v>
                </c:pt>
                <c:pt idx="154" formatCode="#,##0">
                  <c:v>790</c:v>
                </c:pt>
                <c:pt idx="155" formatCode="#,##0">
                  <c:v>711</c:v>
                </c:pt>
                <c:pt idx="156" formatCode="#,##0">
                  <c:v>1587</c:v>
                </c:pt>
                <c:pt idx="157" formatCode="#,##0">
                  <c:v>1688</c:v>
                </c:pt>
                <c:pt idx="158" formatCode="#,##0">
                  <c:v>1100</c:v>
                </c:pt>
                <c:pt idx="159" formatCode="#,##0">
                  <c:v>928</c:v>
                </c:pt>
                <c:pt idx="160" formatCode="#,##0">
                  <c:v>795</c:v>
                </c:pt>
                <c:pt idx="161" formatCode="#,##0">
                  <c:v>881</c:v>
                </c:pt>
                <c:pt idx="162" formatCode="#,##0">
                  <c:v>674.38542835999999</c:v>
                </c:pt>
                <c:pt idx="163" formatCode="#,##0">
                  <c:v>1589.3689015499999</c:v>
                </c:pt>
                <c:pt idx="164" formatCode="#,##0">
                  <c:v>2221.89884031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4C-4077-B0EF-D5EEE29CD0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7834496"/>
        <c:axId val="77873152"/>
      </c:lineChart>
      <c:dateAx>
        <c:axId val="77834496"/>
        <c:scaling>
          <c:orientation val="minMax"/>
        </c:scaling>
        <c:delete val="0"/>
        <c:axPos val="b"/>
        <c:minorGridlines>
          <c:spPr>
            <a:ln w="9525"/>
          </c:spPr>
        </c:minorGridlines>
        <c:numFmt formatCode="mmm\-yy" sourceLinked="1"/>
        <c:majorTickMark val="none"/>
        <c:minorTickMark val="none"/>
        <c:tickLblPos val="low"/>
        <c:spPr>
          <a:ln w="9525">
            <a:solidFill>
              <a:srgbClr val="B5C0C9"/>
            </a:solidFill>
            <a:prstDash val="solid"/>
          </a:ln>
        </c:spPr>
        <c:txPr>
          <a:bodyPr rot="-540000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de-DE"/>
          </a:p>
        </c:txPr>
        <c:crossAx val="77873152"/>
        <c:crosses val="autoZero"/>
        <c:auto val="1"/>
        <c:lblOffset val="100"/>
        <c:baseTimeUnit val="months"/>
        <c:majorUnit val="3"/>
        <c:majorTimeUnit val="months"/>
        <c:minorUnit val="12"/>
        <c:minorTimeUnit val="months"/>
      </c:dateAx>
      <c:valAx>
        <c:axId val="77873152"/>
        <c:scaling>
          <c:orientation val="minMax"/>
          <c:max val="20000"/>
        </c:scaling>
        <c:delete val="0"/>
        <c:axPos val="l"/>
        <c:majorGridlines>
          <c:spPr>
            <a:ln w="9525">
              <a:solidFill>
                <a:srgbClr val="B5C0C9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r>
                  <a:rPr lang="de-DE" sz="1400">
                    <a:latin typeface="+mn-lt"/>
                  </a:rPr>
                  <a:t>in Mio. €</a:t>
                </a:r>
              </a:p>
            </c:rich>
          </c:tx>
          <c:layout>
            <c:manualLayout>
              <c:xMode val="edge"/>
              <c:yMode val="edge"/>
              <c:x val="1.4023260508644923E-3"/>
              <c:y val="0.2745998389172275"/>
            </c:manualLayout>
          </c:layout>
          <c:overlay val="0"/>
          <c:spPr>
            <a:noFill/>
            <a:ln w="25352">
              <a:noFill/>
            </a:ln>
          </c:spPr>
        </c:title>
        <c:numFmt formatCode="#,##0" sourceLinked="0"/>
        <c:majorTickMark val="out"/>
        <c:minorTickMark val="none"/>
        <c:tickLblPos val="nextTo"/>
        <c:spPr>
          <a:ln w="9507">
            <a:noFill/>
          </a:ln>
        </c:spPr>
        <c:txPr>
          <a:bodyPr rot="0" vert="horz"/>
          <a:lstStyle/>
          <a:p>
            <a:pPr>
              <a:defRPr sz="1148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de-DE"/>
          </a:p>
        </c:txPr>
        <c:crossAx val="77834496"/>
        <c:crosses val="autoZero"/>
        <c:crossBetween val="between"/>
        <c:majorUnit val="2500"/>
      </c:valAx>
      <c:spPr>
        <a:noFill/>
        <a:ln w="9525">
          <a:solidFill>
            <a:srgbClr val="B5C0C9"/>
          </a:solidFill>
        </a:ln>
      </c:spPr>
    </c:plotArea>
    <c:legend>
      <c:legendPos val="b"/>
      <c:overlay val="0"/>
      <c:spPr>
        <a:noFill/>
        <a:ln w="3169">
          <a:noFill/>
          <a:prstDash val="solid"/>
        </a:ln>
      </c:spPr>
      <c:txPr>
        <a:bodyPr/>
        <a:lstStyle/>
        <a:p>
          <a:pPr>
            <a:defRPr sz="1200" b="1" i="0" u="none" strike="noStrike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221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851627064162297E-2"/>
          <c:y val="3.6753401642368219E-2"/>
          <c:w val="0.89785532209102825"/>
          <c:h val="0.7349336763507758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port</c:v>
                </c:pt>
              </c:strCache>
            </c:strRef>
          </c:tx>
          <c:spPr>
            <a:solidFill>
              <a:srgbClr val="FF7F24"/>
            </a:solidFill>
            <a:ln w="25205">
              <a:noFill/>
            </a:ln>
          </c:spPr>
          <c:invertIfNegative val="0"/>
          <c:cat>
            <c:strRef>
              <c:f>Sheet1!$A$2:$A$82</c:f>
              <c:strCache>
                <c:ptCount val="33"/>
                <c:pt idx="0">
                  <c:v>Jan 23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  <c:pt idx="12">
                  <c:v>Jan 24</c:v>
                </c:pt>
                <c:pt idx="13">
                  <c:v>Feb</c:v>
                </c:pt>
                <c:pt idx="14">
                  <c:v>Mrz</c:v>
                </c:pt>
                <c:pt idx="15">
                  <c:v>Apr</c:v>
                </c:pt>
                <c:pt idx="16">
                  <c:v>Mai</c:v>
                </c:pt>
                <c:pt idx="17">
                  <c:v>Jun</c:v>
                </c:pt>
                <c:pt idx="18">
                  <c:v>Jul</c:v>
                </c:pt>
                <c:pt idx="19">
                  <c:v>Aug</c:v>
                </c:pt>
                <c:pt idx="20">
                  <c:v>Sep</c:v>
                </c:pt>
                <c:pt idx="21">
                  <c:v>Okt</c:v>
                </c:pt>
                <c:pt idx="22">
                  <c:v>Nov</c:v>
                </c:pt>
                <c:pt idx="23">
                  <c:v>Dez</c:v>
                </c:pt>
                <c:pt idx="24">
                  <c:v>Jan 25</c:v>
                </c:pt>
                <c:pt idx="25">
                  <c:v>Feb</c:v>
                </c:pt>
                <c:pt idx="26">
                  <c:v>Mrz</c:v>
                </c:pt>
                <c:pt idx="27">
                  <c:v>Apr</c:v>
                </c:pt>
                <c:pt idx="28">
                  <c:v>Mai</c:v>
                </c:pt>
                <c:pt idx="29">
                  <c:v>Jun</c:v>
                </c:pt>
                <c:pt idx="30">
                  <c:v>Jul</c:v>
                </c:pt>
                <c:pt idx="31">
                  <c:v>Aug</c:v>
                </c:pt>
                <c:pt idx="32">
                  <c:v>Sep</c:v>
                </c:pt>
              </c:strCache>
            </c:strRef>
          </c:cat>
          <c:val>
            <c:numRef>
              <c:f>Sheet1!$B$2:$B$82</c:f>
              <c:numCache>
                <c:formatCode>#,##0.0</c:formatCode>
                <c:ptCount val="33"/>
                <c:pt idx="0">
                  <c:v>-8.0397200000000009</c:v>
                </c:pt>
                <c:pt idx="1">
                  <c:v>-7.0569470000000001</c:v>
                </c:pt>
                <c:pt idx="2">
                  <c:v>-6.4316560000000003</c:v>
                </c:pt>
                <c:pt idx="3">
                  <c:v>-5.0032100000000002</c:v>
                </c:pt>
                <c:pt idx="4">
                  <c:v>-3.426126</c:v>
                </c:pt>
                <c:pt idx="5">
                  <c:v>-3.0597339999999997</c:v>
                </c:pt>
                <c:pt idx="6">
                  <c:v>-4.0058790000000002</c:v>
                </c:pt>
                <c:pt idx="7">
                  <c:v>-3.046297</c:v>
                </c:pt>
                <c:pt idx="8">
                  <c:v>-3.0508350000000002</c:v>
                </c:pt>
                <c:pt idx="9">
                  <c:v>-4.8613729999999995</c:v>
                </c:pt>
                <c:pt idx="10">
                  <c:v>-5.3858969999999999</c:v>
                </c:pt>
                <c:pt idx="11">
                  <c:v>-7.3828860000000001</c:v>
                </c:pt>
                <c:pt idx="12">
                  <c:v>-6.9043259256949998</c:v>
                </c:pt>
                <c:pt idx="13">
                  <c:v>-5.6116958778240003</c:v>
                </c:pt>
                <c:pt idx="14">
                  <c:v>-4.6607507741039997</c:v>
                </c:pt>
                <c:pt idx="15">
                  <c:v>-3.6639016421710005</c:v>
                </c:pt>
                <c:pt idx="16">
                  <c:v>-3.7298148270210003</c:v>
                </c:pt>
                <c:pt idx="17">
                  <c:v>-3.6310883434490004</c:v>
                </c:pt>
                <c:pt idx="18">
                  <c:v>-3.8537185797309998</c:v>
                </c:pt>
                <c:pt idx="19">
                  <c:v>-3.9209951202839992</c:v>
                </c:pt>
                <c:pt idx="20">
                  <c:v>-4.1128735232730005</c:v>
                </c:pt>
                <c:pt idx="21">
                  <c:v>-4.1452628119200003</c:v>
                </c:pt>
                <c:pt idx="22">
                  <c:v>-5.3693709138430004</c:v>
                </c:pt>
                <c:pt idx="23">
                  <c:v>-6.4012168970440007</c:v>
                </c:pt>
                <c:pt idx="24">
                  <c:v>-6.2376514137229995</c:v>
                </c:pt>
                <c:pt idx="25">
                  <c:v>-5.2253318703859994</c:v>
                </c:pt>
                <c:pt idx="26">
                  <c:v>-4.6815391814270004</c:v>
                </c:pt>
                <c:pt idx="27">
                  <c:v>-4.0670438250679997</c:v>
                </c:pt>
                <c:pt idx="28">
                  <c:v>-4.6075463545620003</c:v>
                </c:pt>
                <c:pt idx="29">
                  <c:v>-4.874580780644</c:v>
                </c:pt>
                <c:pt idx="30">
                  <c:v>-3.9526821578129998</c:v>
                </c:pt>
                <c:pt idx="31">
                  <c:v>-3.773775028662</c:v>
                </c:pt>
                <c:pt idx="32">
                  <c:v>-4.878679378059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F1-486E-908A-48A45821918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mport</c:v>
                </c:pt>
              </c:strCache>
            </c:strRef>
          </c:tx>
          <c:spPr>
            <a:solidFill>
              <a:srgbClr val="FFAD75"/>
            </a:solidFill>
            <a:ln w="25205">
              <a:noFill/>
            </a:ln>
          </c:spPr>
          <c:invertIfNegative val="0"/>
          <c:cat>
            <c:strRef>
              <c:f>Sheet1!$A$2:$A$82</c:f>
              <c:strCache>
                <c:ptCount val="33"/>
                <c:pt idx="0">
                  <c:v>Jan 23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  <c:pt idx="12">
                  <c:v>Jan 24</c:v>
                </c:pt>
                <c:pt idx="13">
                  <c:v>Feb</c:v>
                </c:pt>
                <c:pt idx="14">
                  <c:v>Mrz</c:v>
                </c:pt>
                <c:pt idx="15">
                  <c:v>Apr</c:v>
                </c:pt>
                <c:pt idx="16">
                  <c:v>Mai</c:v>
                </c:pt>
                <c:pt idx="17">
                  <c:v>Jun</c:v>
                </c:pt>
                <c:pt idx="18">
                  <c:v>Jul</c:v>
                </c:pt>
                <c:pt idx="19">
                  <c:v>Aug</c:v>
                </c:pt>
                <c:pt idx="20">
                  <c:v>Sep</c:v>
                </c:pt>
                <c:pt idx="21">
                  <c:v>Okt</c:v>
                </c:pt>
                <c:pt idx="22">
                  <c:v>Nov</c:v>
                </c:pt>
                <c:pt idx="23">
                  <c:v>Dez</c:v>
                </c:pt>
                <c:pt idx="24">
                  <c:v>Jan 25</c:v>
                </c:pt>
                <c:pt idx="25">
                  <c:v>Feb</c:v>
                </c:pt>
                <c:pt idx="26">
                  <c:v>Mrz</c:v>
                </c:pt>
                <c:pt idx="27">
                  <c:v>Apr</c:v>
                </c:pt>
                <c:pt idx="28">
                  <c:v>Mai</c:v>
                </c:pt>
                <c:pt idx="29">
                  <c:v>Jun</c:v>
                </c:pt>
                <c:pt idx="30">
                  <c:v>Jul</c:v>
                </c:pt>
                <c:pt idx="31">
                  <c:v>Aug</c:v>
                </c:pt>
                <c:pt idx="32">
                  <c:v>Sep</c:v>
                </c:pt>
              </c:strCache>
            </c:strRef>
          </c:cat>
          <c:val>
            <c:numRef>
              <c:f>Sheet1!$C$2:$C$82</c:f>
              <c:numCache>
                <c:formatCode>#,##0.0</c:formatCode>
                <c:ptCount val="33"/>
                <c:pt idx="0">
                  <c:v>4.2376280000000008</c:v>
                </c:pt>
                <c:pt idx="1">
                  <c:v>3.9557890000000002</c:v>
                </c:pt>
                <c:pt idx="2">
                  <c:v>4.0833810000000001</c:v>
                </c:pt>
                <c:pt idx="3">
                  <c:v>5.0844809999999994</c:v>
                </c:pt>
                <c:pt idx="4">
                  <c:v>6.4990950000000005</c:v>
                </c:pt>
                <c:pt idx="5">
                  <c:v>6.8862120000000004</c:v>
                </c:pt>
                <c:pt idx="6">
                  <c:v>7.0897820000000005</c:v>
                </c:pt>
                <c:pt idx="7">
                  <c:v>8.4958330000000011</c:v>
                </c:pt>
                <c:pt idx="8">
                  <c:v>7.308789</c:v>
                </c:pt>
                <c:pt idx="9">
                  <c:v>5.9301100000000009</c:v>
                </c:pt>
                <c:pt idx="10">
                  <c:v>4.9630410000000005</c:v>
                </c:pt>
                <c:pt idx="11">
                  <c:v>4.5366109999999997</c:v>
                </c:pt>
                <c:pt idx="12">
                  <c:v>5.2679153655999986</c:v>
                </c:pt>
                <c:pt idx="13">
                  <c:v>5.3679644997999985</c:v>
                </c:pt>
                <c:pt idx="14">
                  <c:v>5.8809103289999998</c:v>
                </c:pt>
                <c:pt idx="15">
                  <c:v>6.0344654150000014</c:v>
                </c:pt>
                <c:pt idx="16">
                  <c:v>7.1435264243999992</c:v>
                </c:pt>
                <c:pt idx="17">
                  <c:v>7.1940412776000002</c:v>
                </c:pt>
                <c:pt idx="18">
                  <c:v>8.2273141395999989</c:v>
                </c:pt>
                <c:pt idx="19">
                  <c:v>8.2108392061999993</c:v>
                </c:pt>
                <c:pt idx="20">
                  <c:v>6.7507215438000001</c:v>
                </c:pt>
                <c:pt idx="21">
                  <c:v>7.6241900857999987</c:v>
                </c:pt>
                <c:pt idx="22">
                  <c:v>6.5555929227999998</c:v>
                </c:pt>
                <c:pt idx="23">
                  <c:v>6.1721608783999988</c:v>
                </c:pt>
                <c:pt idx="24">
                  <c:v>6.2955262434000003</c:v>
                </c:pt>
                <c:pt idx="25">
                  <c:v>6.3060617118</c:v>
                </c:pt>
                <c:pt idx="26">
                  <c:v>6.3981082512</c:v>
                </c:pt>
                <c:pt idx="27">
                  <c:v>6.3959677493999996</c:v>
                </c:pt>
                <c:pt idx="28">
                  <c:v>6.1718449626000007</c:v>
                </c:pt>
                <c:pt idx="29">
                  <c:v>5.7073358998000003</c:v>
                </c:pt>
                <c:pt idx="30">
                  <c:v>6.8505504016000005</c:v>
                </c:pt>
                <c:pt idx="31">
                  <c:v>7.0412623517999995</c:v>
                </c:pt>
                <c:pt idx="32">
                  <c:v>6.523621233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F1-486E-908A-48A4582191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200209920"/>
        <c:axId val="20021184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Saldo</c:v>
                </c:pt>
              </c:strCache>
            </c:strRef>
          </c:tx>
          <c:spPr>
            <a:ln w="31750">
              <a:solidFill>
                <a:srgbClr val="576874"/>
              </a:solidFill>
              <a:prstDash val="solid"/>
            </a:ln>
          </c:spPr>
          <c:marker>
            <c:symbol val="circle"/>
            <c:size val="7"/>
            <c:spPr>
              <a:solidFill>
                <a:srgbClr val="576874"/>
              </a:solidFill>
              <a:ln>
                <a:solidFill>
                  <a:srgbClr val="576874"/>
                </a:solidFill>
              </a:ln>
            </c:spPr>
          </c:marker>
          <c:cat>
            <c:strRef>
              <c:f>Sheet1!$A$2:$A$82</c:f>
              <c:strCache>
                <c:ptCount val="33"/>
                <c:pt idx="0">
                  <c:v>Jan 23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  <c:pt idx="12">
                  <c:v>Jan 24</c:v>
                </c:pt>
                <c:pt idx="13">
                  <c:v>Feb</c:v>
                </c:pt>
                <c:pt idx="14">
                  <c:v>Mrz</c:v>
                </c:pt>
                <c:pt idx="15">
                  <c:v>Apr</c:v>
                </c:pt>
                <c:pt idx="16">
                  <c:v>Mai</c:v>
                </c:pt>
                <c:pt idx="17">
                  <c:v>Jun</c:v>
                </c:pt>
                <c:pt idx="18">
                  <c:v>Jul</c:v>
                </c:pt>
                <c:pt idx="19">
                  <c:v>Aug</c:v>
                </c:pt>
                <c:pt idx="20">
                  <c:v>Sep</c:v>
                </c:pt>
                <c:pt idx="21">
                  <c:v>Okt</c:v>
                </c:pt>
                <c:pt idx="22">
                  <c:v>Nov</c:v>
                </c:pt>
                <c:pt idx="23">
                  <c:v>Dez</c:v>
                </c:pt>
                <c:pt idx="24">
                  <c:v>Jan 25</c:v>
                </c:pt>
                <c:pt idx="25">
                  <c:v>Feb</c:v>
                </c:pt>
                <c:pt idx="26">
                  <c:v>Mrz</c:v>
                </c:pt>
                <c:pt idx="27">
                  <c:v>Apr</c:v>
                </c:pt>
                <c:pt idx="28">
                  <c:v>Mai</c:v>
                </c:pt>
                <c:pt idx="29">
                  <c:v>Jun</c:v>
                </c:pt>
                <c:pt idx="30">
                  <c:v>Jul</c:v>
                </c:pt>
                <c:pt idx="31">
                  <c:v>Aug</c:v>
                </c:pt>
                <c:pt idx="32">
                  <c:v>Sep</c:v>
                </c:pt>
              </c:strCache>
            </c:strRef>
          </c:cat>
          <c:val>
            <c:numRef>
              <c:f>Sheet1!$D$2:$D$82</c:f>
              <c:numCache>
                <c:formatCode>#,##0.0</c:formatCode>
                <c:ptCount val="33"/>
                <c:pt idx="0">
                  <c:v>-3.802092</c:v>
                </c:pt>
                <c:pt idx="1">
                  <c:v>-3.1011579999999999</c:v>
                </c:pt>
                <c:pt idx="2">
                  <c:v>-2.3482750000000001</c:v>
                </c:pt>
                <c:pt idx="3">
                  <c:v>8.1270999999999205E-2</c:v>
                </c:pt>
                <c:pt idx="4">
                  <c:v>3.0729690000000005</c:v>
                </c:pt>
                <c:pt idx="5">
                  <c:v>3.8264780000000007</c:v>
                </c:pt>
                <c:pt idx="6">
                  <c:v>3.0839030000000003</c:v>
                </c:pt>
                <c:pt idx="7">
                  <c:v>5.449536000000001</c:v>
                </c:pt>
                <c:pt idx="8">
                  <c:v>4.2579539999999998</c:v>
                </c:pt>
                <c:pt idx="9">
                  <c:v>1.0687370000000014</c:v>
                </c:pt>
                <c:pt idx="10">
                  <c:v>-0.42285599999999945</c:v>
                </c:pt>
                <c:pt idx="11">
                  <c:v>-2.8462750000000003</c:v>
                </c:pt>
                <c:pt idx="12">
                  <c:v>-1.6364105600950012</c:v>
                </c:pt>
                <c:pt idx="13">
                  <c:v>-0.2437313780240018</c:v>
                </c:pt>
                <c:pt idx="14">
                  <c:v>1.220159554896</c:v>
                </c:pt>
                <c:pt idx="15">
                  <c:v>2.370563772829001</c:v>
                </c:pt>
                <c:pt idx="16">
                  <c:v>3.4137115973789989</c:v>
                </c:pt>
                <c:pt idx="17">
                  <c:v>3.5629529341509998</c:v>
                </c:pt>
                <c:pt idx="18">
                  <c:v>4.3735955598689991</c:v>
                </c:pt>
                <c:pt idx="19">
                  <c:v>4.2898440859160001</c:v>
                </c:pt>
                <c:pt idx="20">
                  <c:v>2.6378480205269996</c:v>
                </c:pt>
                <c:pt idx="21">
                  <c:v>3.4789272738799983</c:v>
                </c:pt>
                <c:pt idx="22">
                  <c:v>1.1862220089569995</c:v>
                </c:pt>
                <c:pt idx="23">
                  <c:v>-0.22905601864400182</c:v>
                </c:pt>
                <c:pt idx="24">
                  <c:v>5.7874829677000861E-2</c:v>
                </c:pt>
                <c:pt idx="25">
                  <c:v>1.0807298414140005</c:v>
                </c:pt>
                <c:pt idx="26">
                  <c:v>1.7165690697729996</c:v>
                </c:pt>
                <c:pt idx="27">
                  <c:v>2.3289239243319999</c:v>
                </c:pt>
                <c:pt idx="28">
                  <c:v>1.5642986080380004</c:v>
                </c:pt>
                <c:pt idx="29">
                  <c:v>0.83275511915600031</c:v>
                </c:pt>
                <c:pt idx="30">
                  <c:v>2.8978682437870007</c:v>
                </c:pt>
                <c:pt idx="31">
                  <c:v>3.2674873231379995</c:v>
                </c:pt>
                <c:pt idx="32">
                  <c:v>1.6449418549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F1-486E-908A-48A4582191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0209920"/>
        <c:axId val="200211840"/>
      </c:lineChart>
      <c:dateAx>
        <c:axId val="200209920"/>
        <c:scaling>
          <c:orientation val="minMax"/>
        </c:scaling>
        <c:delete val="0"/>
        <c:axPos val="b"/>
        <c:majorGridlines>
          <c:spPr>
            <a:ln w="9525">
              <a:solidFill>
                <a:srgbClr val="B5C0C9"/>
              </a:solidFill>
            </a:ln>
          </c:spPr>
        </c:majorGridlines>
        <c:minorGridlines>
          <c:spPr>
            <a:ln w="12700">
              <a:solidFill>
                <a:schemeClr val="tx1"/>
              </a:solidFill>
            </a:ln>
          </c:spPr>
        </c:minorGridlines>
        <c:numFmt formatCode="General" sourceLinked="1"/>
        <c:majorTickMark val="none"/>
        <c:minorTickMark val="none"/>
        <c:tickLblPos val="low"/>
        <c:spPr>
          <a:ln w="12700">
            <a:solidFill>
              <a:srgbClr val="B5C0C9"/>
            </a:solidFill>
            <a:prstDash val="solid"/>
          </a:ln>
        </c:spPr>
        <c:txPr>
          <a:bodyPr rot="-54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j-lt"/>
                <a:ea typeface="Arial"/>
                <a:cs typeface="Arial"/>
              </a:defRPr>
            </a:pPr>
            <a:endParaRPr lang="de-DE"/>
          </a:p>
        </c:txPr>
        <c:crossAx val="200211840"/>
        <c:crosses val="autoZero"/>
        <c:auto val="0"/>
        <c:lblOffset val="100"/>
        <c:baseTimeUnit val="months"/>
        <c:majorUnit val="1"/>
        <c:minorUnit val="12"/>
      </c:dateAx>
      <c:valAx>
        <c:axId val="200211840"/>
        <c:scaling>
          <c:orientation val="minMax"/>
          <c:max val="10"/>
        </c:scaling>
        <c:delete val="0"/>
        <c:axPos val="l"/>
        <c:majorGridlines>
          <c:spPr>
            <a:ln w="9525">
              <a:solidFill>
                <a:srgbClr val="B5C0C9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r>
                  <a:rPr lang="de-DE" sz="1400" b="1">
                    <a:latin typeface="+mj-lt"/>
                  </a:rPr>
                  <a:t>Physikalischer Lastfluss in Mrd. kWh </a:t>
                </a:r>
              </a:p>
            </c:rich>
          </c:tx>
          <c:layout>
            <c:manualLayout>
              <c:xMode val="edge"/>
              <c:yMode val="edge"/>
              <c:x val="1.5747262146284873E-3"/>
              <c:y val="3.1437479168981209E-3"/>
            </c:manualLayout>
          </c:layout>
          <c:overlay val="0"/>
          <c:spPr>
            <a:noFill/>
            <a:ln w="25205">
              <a:noFill/>
            </a:ln>
          </c:spPr>
        </c:title>
        <c:numFmt formatCode="#,##0.0" sourceLinked="1"/>
        <c:majorTickMark val="out"/>
        <c:minorTickMark val="none"/>
        <c:tickLblPos val="nextTo"/>
        <c:spPr>
          <a:ln w="9452">
            <a:noFill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j-lt"/>
                <a:ea typeface="Arial"/>
                <a:cs typeface="Arial"/>
              </a:defRPr>
            </a:pPr>
            <a:endParaRPr lang="de-DE"/>
          </a:p>
        </c:txPr>
        <c:crossAx val="200209920"/>
        <c:crosses val="autoZero"/>
        <c:crossBetween val="between"/>
        <c:majorUnit val="2.5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233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087968068514106E-2"/>
          <c:y val="4.1290769762998628E-2"/>
          <c:w val="0.56920237198087409"/>
          <c:h val="0.84931759690424835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Tabelle1!$A$2</c:f>
              <c:strCache>
                <c:ptCount val="1"/>
                <c:pt idx="0">
                  <c:v>in neuen Wohngebäuden mit 
1 Wohnung</c:v>
                </c:pt>
              </c:strCache>
            </c:strRef>
          </c:tx>
          <c:spPr>
            <a:solidFill>
              <a:srgbClr val="C20000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B$1:$C$1</c:f>
              <c:strCache>
                <c:ptCount val="2"/>
                <c:pt idx="0">
                  <c:v>1. - 3. Quartal 2024</c:v>
                </c:pt>
                <c:pt idx="1">
                  <c:v>1. - 3. Quartal 2025</c:v>
                </c:pt>
              </c:strCache>
            </c:strRef>
          </c:cat>
          <c:val>
            <c:numRef>
              <c:f>Tabelle1!$B$2:$C$2</c:f>
              <c:numCache>
                <c:formatCode>#,##0</c:formatCode>
                <c:ptCount val="2"/>
                <c:pt idx="0">
                  <c:v>28323</c:v>
                </c:pt>
                <c:pt idx="1">
                  <c:v>332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4A-48F7-9EB6-1654947488CA}"/>
            </c:ext>
          </c:extLst>
        </c:ser>
        <c:ser>
          <c:idx val="2"/>
          <c:order val="1"/>
          <c:tx>
            <c:strRef>
              <c:f>Tabelle1!$A$3</c:f>
              <c:strCache>
                <c:ptCount val="1"/>
                <c:pt idx="0">
                  <c:v>in neuen Wohngebäuden mit 
2 Wohnungen</c:v>
                </c:pt>
              </c:strCache>
            </c:strRef>
          </c:tx>
          <c:spPr>
            <a:solidFill>
              <a:srgbClr val="C84730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B$1:$C$1</c:f>
              <c:strCache>
                <c:ptCount val="2"/>
                <c:pt idx="0">
                  <c:v>1. - 3. Quartal 2024</c:v>
                </c:pt>
                <c:pt idx="1">
                  <c:v>1. - 3. Quartal 2025</c:v>
                </c:pt>
              </c:strCache>
            </c:strRef>
          </c:cat>
          <c:val>
            <c:numRef>
              <c:f>Tabelle1!$B$3:$C$3</c:f>
              <c:numCache>
                <c:formatCode>#,##0</c:formatCode>
                <c:ptCount val="2"/>
                <c:pt idx="0">
                  <c:v>9740</c:v>
                </c:pt>
                <c:pt idx="1">
                  <c:v>94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C7C-4714-8AC6-6804ADF22073}"/>
            </c:ext>
          </c:extLst>
        </c:ser>
        <c:ser>
          <c:idx val="3"/>
          <c:order val="2"/>
          <c:tx>
            <c:strRef>
              <c:f>Tabelle1!$A$4</c:f>
              <c:strCache>
                <c:ptCount val="1"/>
                <c:pt idx="0">
                  <c:v>in neuen Wohngebäuden mit 
3 und mehr Wohnungen</c:v>
                </c:pt>
              </c:strCache>
            </c:strRef>
          </c:tx>
          <c:spPr>
            <a:solidFill>
              <a:srgbClr val="D5775B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B$1:$C$1</c:f>
              <c:strCache>
                <c:ptCount val="2"/>
                <c:pt idx="0">
                  <c:v>1. - 3. Quartal 2024</c:v>
                </c:pt>
                <c:pt idx="1">
                  <c:v>1. - 3. Quartal 2025</c:v>
                </c:pt>
              </c:strCache>
            </c:strRef>
          </c:cat>
          <c:val>
            <c:numRef>
              <c:f>Tabelle1!$B$4:$C$4</c:f>
              <c:numCache>
                <c:formatCode>#,##0</c:formatCode>
                <c:ptCount val="2"/>
                <c:pt idx="0">
                  <c:v>82445</c:v>
                </c:pt>
                <c:pt idx="1">
                  <c:v>931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C7C-4714-8AC6-6804ADF22073}"/>
            </c:ext>
          </c:extLst>
        </c:ser>
        <c:ser>
          <c:idx val="5"/>
          <c:order val="3"/>
          <c:tx>
            <c:strRef>
              <c:f>Tabelle1!$A$5</c:f>
              <c:strCache>
                <c:ptCount val="1"/>
                <c:pt idx="0">
                  <c:v>in neuen Nicht-Wohngebäuden</c:v>
                </c:pt>
              </c:strCache>
            </c:strRef>
          </c:tx>
          <c:spPr>
            <a:solidFill>
              <a:srgbClr val="F1D1C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7.9067255416807397E-2"/>
                  <c:y val="7.83863279430906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DC7C-4714-8AC6-6804ADF22073}"/>
                </c:ext>
              </c:extLst>
            </c:dLbl>
            <c:dLbl>
              <c:idx val="1"/>
              <c:layout>
                <c:manualLayout>
                  <c:x val="7.9067255416807286E-2"/>
                  <c:y val="-3.592665194616736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DC7C-4714-8AC6-6804ADF220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B$1:$C$1</c:f>
              <c:strCache>
                <c:ptCount val="2"/>
                <c:pt idx="0">
                  <c:v>1. - 3. Quartal 2024</c:v>
                </c:pt>
                <c:pt idx="1">
                  <c:v>1. - 3. Quartal 2025</c:v>
                </c:pt>
              </c:strCache>
            </c:strRef>
          </c:cat>
          <c:val>
            <c:numRef>
              <c:f>Tabelle1!$B$5:$C$5</c:f>
              <c:numCache>
                <c:formatCode>#,##0</c:formatCode>
                <c:ptCount val="2"/>
                <c:pt idx="0">
                  <c:v>3612</c:v>
                </c:pt>
                <c:pt idx="1">
                  <c:v>3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C7C-4714-8AC6-6804ADF22073}"/>
            </c:ext>
          </c:extLst>
        </c:ser>
        <c:ser>
          <c:idx val="4"/>
          <c:order val="4"/>
          <c:tx>
            <c:strRef>
              <c:f>Tabelle1!$A$6</c:f>
              <c:strCache>
                <c:ptCount val="1"/>
                <c:pt idx="0">
                  <c:v>in bestehenden Wohngebäuden</c:v>
                </c:pt>
              </c:strCache>
            </c:strRef>
          </c:tx>
          <c:spPr>
            <a:solidFill>
              <a:srgbClr val="B5C0C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D26-4CE4-AA89-8437357134D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B$1:$C$1</c:f>
              <c:strCache>
                <c:ptCount val="2"/>
                <c:pt idx="0">
                  <c:v>1. - 3. Quartal 2024</c:v>
                </c:pt>
                <c:pt idx="1">
                  <c:v>1. - 3. Quartal 2025</c:v>
                </c:pt>
              </c:strCache>
            </c:strRef>
          </c:cat>
          <c:val>
            <c:numRef>
              <c:f>Tabelle1!$B$6:$C$6</c:f>
              <c:numCache>
                <c:formatCode>#,##0</c:formatCode>
                <c:ptCount val="2"/>
                <c:pt idx="0">
                  <c:v>25993</c:v>
                </c:pt>
                <c:pt idx="1">
                  <c:v>27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C7C-4714-8AC6-6804ADF22073}"/>
            </c:ext>
          </c:extLst>
        </c:ser>
        <c:ser>
          <c:idx val="6"/>
          <c:order val="5"/>
          <c:tx>
            <c:strRef>
              <c:f>Tabelle1!$A$7</c:f>
              <c:strCache>
                <c:ptCount val="1"/>
                <c:pt idx="0">
                  <c:v>in bestehenden Nicht-Wohngebäuden</c:v>
                </c:pt>
              </c:strCache>
            </c:strRef>
          </c:tx>
          <c:spPr>
            <a:solidFill>
              <a:srgbClr val="576874"/>
            </a:solidFill>
            <a:ln w="2540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9067255416807397E-2"/>
                  <c:y val="-1.796332597308368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DC7C-4714-8AC6-6804ADF22073}"/>
                </c:ext>
              </c:extLst>
            </c:dLbl>
            <c:dLbl>
              <c:idx val="1"/>
              <c:layout>
                <c:manualLayout>
                  <c:x val="8.0587779559438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DC7C-4714-8AC6-6804ADF220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rgbClr val="B5C0C9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B$1:$C$1</c:f>
              <c:strCache>
                <c:ptCount val="2"/>
                <c:pt idx="0">
                  <c:v>1. - 3. Quartal 2024</c:v>
                </c:pt>
                <c:pt idx="1">
                  <c:v>1. - 3. Quartal 2025</c:v>
                </c:pt>
              </c:strCache>
            </c:strRef>
          </c:cat>
          <c:val>
            <c:numRef>
              <c:f>Tabelle1!$B$7:$C$7</c:f>
              <c:numCache>
                <c:formatCode>#,##0</c:formatCode>
                <c:ptCount val="2"/>
                <c:pt idx="0">
                  <c:v>971</c:v>
                </c:pt>
                <c:pt idx="1">
                  <c:v>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C7C-4714-8AC6-6804ADF220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31772552"/>
        <c:axId val="531774520"/>
      </c:barChart>
      <c:lineChart>
        <c:grouping val="standard"/>
        <c:varyColors val="0"/>
        <c:ser>
          <c:idx val="0"/>
          <c:order val="6"/>
          <c:tx>
            <c:strRef>
              <c:f>Tabelle1!$A$8</c:f>
              <c:strCache>
                <c:ptCount val="1"/>
                <c:pt idx="0">
                  <c:v>Wohn- und Nichtwohnbau nach Gebäudeart (ohne Wohnheime)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C$1</c:f>
              <c:strCache>
                <c:ptCount val="2"/>
                <c:pt idx="0">
                  <c:v>1. - 3. Quartal 2024</c:v>
                </c:pt>
                <c:pt idx="1">
                  <c:v>1. - 3. Quartal 2025</c:v>
                </c:pt>
              </c:strCache>
            </c:strRef>
          </c:cat>
          <c:val>
            <c:numRef>
              <c:f>Tabelle1!$B$8:$C$8</c:f>
              <c:numCache>
                <c:formatCode>#,##0</c:formatCode>
                <c:ptCount val="2"/>
                <c:pt idx="0">
                  <c:v>151084</c:v>
                </c:pt>
                <c:pt idx="1">
                  <c:v>167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9C5-4838-A121-488DC7C72D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1772552"/>
        <c:axId val="531774520"/>
      </c:lineChart>
      <c:catAx>
        <c:axId val="531772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B5C0C9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31774520"/>
        <c:crosses val="autoZero"/>
        <c:auto val="1"/>
        <c:lblAlgn val="ctr"/>
        <c:lblOffset val="100"/>
        <c:noMultiLvlLbl val="1"/>
      </c:catAx>
      <c:valAx>
        <c:axId val="531774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B5C0C9"/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31772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576874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94A2AE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E2A58C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D5775B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C84730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5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C20000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6"/>
        <c:txPr>
          <a:bodyPr rot="0" spcFirstLastPara="1" vertOverflow="ellipsis" vert="horz" wrap="square" anchor="ctr" anchorCtr="1"/>
          <a:lstStyle/>
          <a:p>
            <a:pPr>
              <a:lnSpc>
                <a:spcPts val="100"/>
              </a:lnSpc>
              <a:defRPr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ayout>
        <c:manualLayout>
          <c:xMode val="edge"/>
          <c:yMode val="edge"/>
          <c:x val="0.67062591491836887"/>
          <c:y val="8.19450744776382E-2"/>
          <c:w val="0.3278534617170496"/>
          <c:h val="0.918055013886426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  <c:userShapes r:id="rId4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213064926535965"/>
          <c:y val="1.8679094587028926E-2"/>
          <c:w val="0.8569422472766921"/>
          <c:h val="0.8112633249240586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Gas²</c:v>
                </c:pt>
              </c:strCache>
            </c:strRef>
          </c:tx>
          <c:spPr>
            <a:solidFill>
              <a:srgbClr val="46AA28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:$L$1</c:f>
              <c:strCach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Q1-3 2025</c:v>
                </c:pt>
              </c:strCache>
            </c:strRef>
          </c:cat>
          <c:val>
            <c:numRef>
              <c:f>Tabelle1!$B$2:$L$2</c:f>
              <c:numCache>
                <c:formatCode>0.0</c:formatCode>
                <c:ptCount val="11"/>
                <c:pt idx="0">
                  <c:v>50.3</c:v>
                </c:pt>
                <c:pt idx="1">
                  <c:v>44.2</c:v>
                </c:pt>
                <c:pt idx="2">
                  <c:v>39.299999999999997</c:v>
                </c:pt>
                <c:pt idx="3">
                  <c:v>38.6</c:v>
                </c:pt>
                <c:pt idx="4">
                  <c:v>36.700000000000003</c:v>
                </c:pt>
                <c:pt idx="5">
                  <c:v>33.200000000000003</c:v>
                </c:pt>
                <c:pt idx="6">
                  <c:v>26.196460521671394</c:v>
                </c:pt>
                <c:pt idx="7">
                  <c:v>17.439036812860021</c:v>
                </c:pt>
                <c:pt idx="8" formatCode="#,##0.0">
                  <c:v>10.257418328184967</c:v>
                </c:pt>
                <c:pt idx="9">
                  <c:v>5.1543041515302743</c:v>
                </c:pt>
                <c:pt idx="10">
                  <c:v>3.7052100133230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EB-4F1B-8F7D-431BF5AAAECA}"/>
            </c:ext>
          </c:extLst>
        </c:ser>
        <c:ser>
          <c:idx val="1"/>
          <c:order val="1"/>
          <c:tx>
            <c:strRef>
              <c:f>Tabelle1!$A$3</c:f>
              <c:strCache>
                <c:ptCount val="1"/>
                <c:pt idx="0">
                  <c:v>Wärmepumpen¹</c:v>
                </c:pt>
              </c:strCache>
            </c:strRef>
          </c:tx>
          <c:spPr>
            <a:solidFill>
              <a:srgbClr val="99C200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:$L$1</c:f>
              <c:strCach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Q1-3 2025</c:v>
                </c:pt>
              </c:strCache>
            </c:strRef>
          </c:cat>
          <c:val>
            <c:numRef>
              <c:f>Tabelle1!$B$3:$L$3</c:f>
              <c:numCache>
                <c:formatCode>0.0</c:formatCode>
                <c:ptCount val="11"/>
                <c:pt idx="0">
                  <c:v>20.7</c:v>
                </c:pt>
                <c:pt idx="1">
                  <c:v>23.3</c:v>
                </c:pt>
                <c:pt idx="2">
                  <c:v>27.2</c:v>
                </c:pt>
                <c:pt idx="3">
                  <c:v>28.8</c:v>
                </c:pt>
                <c:pt idx="4">
                  <c:v>29.8</c:v>
                </c:pt>
                <c:pt idx="5">
                  <c:v>35.5</c:v>
                </c:pt>
                <c:pt idx="6">
                  <c:v>43.626687277109021</c:v>
                </c:pt>
                <c:pt idx="7">
                  <c:v>50.702707320840034</c:v>
                </c:pt>
                <c:pt idx="8" formatCode="#,##0.0">
                  <c:v>55.863053449405598</c:v>
                </c:pt>
                <c:pt idx="9">
                  <c:v>64.565754807859705</c:v>
                </c:pt>
                <c:pt idx="10">
                  <c:v>67.1593857373255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2EB-4F1B-8F7D-431BF5AAAECA}"/>
            </c:ext>
          </c:extLst>
        </c:ser>
        <c:ser>
          <c:idx val="2"/>
          <c:order val="2"/>
          <c:tx>
            <c:strRef>
              <c:f>Tabelle1!$A$4</c:f>
              <c:strCache>
                <c:ptCount val="1"/>
                <c:pt idx="0">
                  <c:v>Fernwärme</c:v>
                </c:pt>
              </c:strCache>
            </c:strRef>
          </c:tx>
          <c:spPr>
            <a:solidFill>
              <a:srgbClr val="7B0B6D"/>
            </a:solidFill>
            <a:ln w="9525"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:$L$1</c:f>
              <c:strCach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Q1-3 2025</c:v>
                </c:pt>
              </c:strCache>
            </c:strRef>
          </c:cat>
          <c:val>
            <c:numRef>
              <c:f>Tabelle1!$B$4:$L$4</c:f>
              <c:numCache>
                <c:formatCode>0.0</c:formatCode>
                <c:ptCount val="11"/>
                <c:pt idx="0">
                  <c:v>20.8</c:v>
                </c:pt>
                <c:pt idx="1">
                  <c:v>24</c:v>
                </c:pt>
                <c:pt idx="2">
                  <c:v>25.2</c:v>
                </c:pt>
                <c:pt idx="3">
                  <c:v>25.2</c:v>
                </c:pt>
                <c:pt idx="4">
                  <c:v>26.8</c:v>
                </c:pt>
                <c:pt idx="5">
                  <c:v>24.4</c:v>
                </c:pt>
                <c:pt idx="6">
                  <c:v>22.658807921225915</c:v>
                </c:pt>
                <c:pt idx="7">
                  <c:v>23.745822694965547</c:v>
                </c:pt>
                <c:pt idx="8" formatCode="#,##0.0">
                  <c:v>26.56369933539268</c:v>
                </c:pt>
                <c:pt idx="9">
                  <c:v>24.231380787131069</c:v>
                </c:pt>
                <c:pt idx="10">
                  <c:v>22.7655844611177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EB-4F1B-8F7D-431BF5AAAECA}"/>
            </c:ext>
          </c:extLst>
        </c:ser>
        <c:ser>
          <c:idx val="3"/>
          <c:order val="3"/>
          <c:tx>
            <c:strRef>
              <c:f>Tabelle1!$A$5</c:f>
              <c:strCache>
                <c:ptCount val="1"/>
                <c:pt idx="0">
                  <c:v>Strom</c:v>
                </c:pt>
              </c:strCache>
            </c:strRef>
          </c:tx>
          <c:spPr>
            <a:solidFill>
              <a:srgbClr val="FF7F24"/>
            </a:solidFill>
            <a:ln w="9525">
              <a:solidFill>
                <a:schemeClr val="bg1"/>
              </a:solidFill>
            </a:ln>
          </c:spPr>
          <c:invertIfNegative val="0"/>
          <c:cat>
            <c:strRef>
              <c:f>Tabelle1!$B$1:$L$1</c:f>
              <c:strCach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Q1-3 2025</c:v>
                </c:pt>
              </c:strCache>
            </c:strRef>
          </c:cat>
          <c:val>
            <c:numRef>
              <c:f>Tabelle1!$B$5:$L$5</c:f>
              <c:numCache>
                <c:formatCode>0.0</c:formatCode>
                <c:ptCount val="11"/>
                <c:pt idx="0">
                  <c:v>0.7</c:v>
                </c:pt>
                <c:pt idx="1">
                  <c:v>0.9</c:v>
                </c:pt>
                <c:pt idx="2">
                  <c:v>0.7</c:v>
                </c:pt>
                <c:pt idx="3">
                  <c:v>1.1000000000000001</c:v>
                </c:pt>
                <c:pt idx="4">
                  <c:v>0.9</c:v>
                </c:pt>
                <c:pt idx="5">
                  <c:v>1.3</c:v>
                </c:pt>
                <c:pt idx="6">
                  <c:v>1.429240862230553</c:v>
                </c:pt>
                <c:pt idx="7">
                  <c:v>1.6173605018352213</c:v>
                </c:pt>
                <c:pt idx="8" formatCode="#,##0.0">
                  <c:v>1.7307872320509221</c:v>
                </c:pt>
                <c:pt idx="9">
                  <c:v>2.1001381135316444</c:v>
                </c:pt>
                <c:pt idx="10">
                  <c:v>2.3126007993829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2EB-4F1B-8F7D-431BF5AAAECA}"/>
            </c:ext>
          </c:extLst>
        </c:ser>
        <c:ser>
          <c:idx val="4"/>
          <c:order val="4"/>
          <c:tx>
            <c:strRef>
              <c:f>Tabelle1!$A$6</c:f>
              <c:strCache>
                <c:ptCount val="1"/>
                <c:pt idx="0">
                  <c:v>Holz/Holzpellets</c:v>
                </c:pt>
              </c:strCache>
            </c:strRef>
          </c:tx>
          <c:spPr>
            <a:solidFill>
              <a:srgbClr val="CD853F"/>
            </a:solidFill>
            <a:ln w="9525"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:$L$1</c:f>
              <c:strCach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Q1-3 2025</c:v>
                </c:pt>
              </c:strCache>
            </c:strRef>
          </c:cat>
          <c:val>
            <c:numRef>
              <c:f>Tabelle1!$B$6:$L$6</c:f>
              <c:numCache>
                <c:formatCode>0.0</c:formatCode>
                <c:ptCount val="11"/>
                <c:pt idx="0">
                  <c:v>5.3</c:v>
                </c:pt>
                <c:pt idx="1">
                  <c:v>5.3</c:v>
                </c:pt>
                <c:pt idx="2">
                  <c:v>5.5</c:v>
                </c:pt>
                <c:pt idx="3">
                  <c:v>4.4000000000000004</c:v>
                </c:pt>
                <c:pt idx="4">
                  <c:v>4.2</c:v>
                </c:pt>
                <c:pt idx="5">
                  <c:v>4.0999999999999996</c:v>
                </c:pt>
                <c:pt idx="6">
                  <c:v>4.5019413576114609</c:v>
                </c:pt>
                <c:pt idx="7">
                  <c:v>4.8517529072728651</c:v>
                </c:pt>
                <c:pt idx="8" formatCode="#,##0.0">
                  <c:v>3.9843676869793128</c:v>
                </c:pt>
                <c:pt idx="9">
                  <c:v>2.476758626292638</c:v>
                </c:pt>
                <c:pt idx="10">
                  <c:v>2.74945655984853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2EB-4F1B-8F7D-431BF5AAAECA}"/>
            </c:ext>
          </c:extLst>
        </c:ser>
        <c:ser>
          <c:idx val="5"/>
          <c:order val="5"/>
          <c:tx>
            <c:strRef>
              <c:f>Tabelle1!$A$7</c:f>
              <c:strCache>
                <c:ptCount val="1"/>
                <c:pt idx="0">
                  <c:v>Solarthermie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cat>
            <c:strRef>
              <c:f>Tabelle1!$B$1:$L$1</c:f>
              <c:strCach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Q1-3 2025</c:v>
                </c:pt>
              </c:strCache>
            </c:strRef>
          </c:cat>
          <c:val>
            <c:numRef>
              <c:f>Tabelle1!$B$7:$L$7</c:f>
              <c:numCache>
                <c:formatCode>General</c:formatCode>
                <c:ptCount val="11"/>
                <c:pt idx="0">
                  <c:v>0.5</c:v>
                </c:pt>
                <c:pt idx="1">
                  <c:v>0.5</c:v>
                </c:pt>
                <c:pt idx="2">
                  <c:v>0.4</c:v>
                </c:pt>
                <c:pt idx="3">
                  <c:v>0.6</c:v>
                </c:pt>
                <c:pt idx="4">
                  <c:v>0.4</c:v>
                </c:pt>
                <c:pt idx="5">
                  <c:v>0.5</c:v>
                </c:pt>
                <c:pt idx="6" formatCode="0.0">
                  <c:v>0.46799498533331713</c:v>
                </c:pt>
                <c:pt idx="7" formatCode="0.0">
                  <c:v>0.51721361842516012</c:v>
                </c:pt>
                <c:pt idx="8" formatCode="#,##0.0">
                  <c:v>0.39361602546101282</c:v>
                </c:pt>
                <c:pt idx="9" formatCode="0.0">
                  <c:v>0.46482747414723596</c:v>
                </c:pt>
                <c:pt idx="10" formatCode="0.0">
                  <c:v>0.632494214991936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2EB-4F1B-8F7D-431BF5AAAECA}"/>
            </c:ext>
          </c:extLst>
        </c:ser>
        <c:ser>
          <c:idx val="6"/>
          <c:order val="6"/>
          <c:tx>
            <c:strRef>
              <c:f>Tabelle1!$A$8</c:f>
              <c:strCache>
                <c:ptCount val="1"/>
                <c:pt idx="0">
                  <c:v>Heizöl</c:v>
                </c:pt>
              </c:strCache>
            </c:strRef>
          </c:tx>
          <c:spPr>
            <a:solidFill>
              <a:srgbClr val="477390"/>
            </a:solidFill>
            <a:ln w="9525">
              <a:solidFill>
                <a:schemeClr val="bg1"/>
              </a:solidFill>
            </a:ln>
          </c:spPr>
          <c:invertIfNegative val="0"/>
          <c:cat>
            <c:strRef>
              <c:f>Tabelle1!$B$1:$L$1</c:f>
              <c:strCach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Q1-3 2025</c:v>
                </c:pt>
              </c:strCache>
            </c:strRef>
          </c:cat>
          <c:val>
            <c:numRef>
              <c:f>Tabelle1!$B$8:$L$8</c:f>
              <c:numCache>
                <c:formatCode>0.0</c:formatCode>
                <c:ptCount val="11"/>
                <c:pt idx="0">
                  <c:v>0.7</c:v>
                </c:pt>
                <c:pt idx="1">
                  <c:v>0.7</c:v>
                </c:pt>
                <c:pt idx="2">
                  <c:v>0.6</c:v>
                </c:pt>
                <c:pt idx="3">
                  <c:v>0.5</c:v>
                </c:pt>
                <c:pt idx="4">
                  <c:v>0.5</c:v>
                </c:pt>
                <c:pt idx="5">
                  <c:v>0.3</c:v>
                </c:pt>
                <c:pt idx="6">
                  <c:v>0.27416351221412139</c:v>
                </c:pt>
                <c:pt idx="7">
                  <c:v>0.16101313407136497</c:v>
                </c:pt>
                <c:pt idx="8" formatCode="#,##0.0">
                  <c:v>0.13479359730412804</c:v>
                </c:pt>
                <c:pt idx="9">
                  <c:v>0.12592704355799028</c:v>
                </c:pt>
                <c:pt idx="10">
                  <c:v>6.521281817544351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2EB-4F1B-8F7D-431BF5AAAECA}"/>
            </c:ext>
          </c:extLst>
        </c:ser>
        <c:ser>
          <c:idx val="7"/>
          <c:order val="7"/>
          <c:tx>
            <c:strRef>
              <c:f>Tabelle1!$A$9</c:f>
              <c:strCache>
                <c:ptCount val="1"/>
                <c:pt idx="0">
                  <c:v>Sonstige</c:v>
                </c:pt>
              </c:strCache>
            </c:strRef>
          </c:tx>
          <c:spPr>
            <a:solidFill>
              <a:srgbClr val="999999"/>
            </a:solidFill>
            <a:ln w="9525">
              <a:solidFill>
                <a:schemeClr val="bg1"/>
              </a:solidFill>
            </a:ln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00B-4930-B6DB-07844BD35D71}"/>
              </c:ext>
            </c:extLst>
          </c:dPt>
          <c:cat>
            <c:strRef>
              <c:f>Tabelle1!$B$1:$L$1</c:f>
              <c:strCach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Q1-3 2025</c:v>
                </c:pt>
              </c:strCache>
            </c:strRef>
          </c:cat>
          <c:val>
            <c:numRef>
              <c:f>Tabelle1!$B$9:$L$9</c:f>
              <c:numCache>
                <c:formatCode>0.0</c:formatCode>
                <c:ptCount val="11"/>
                <c:pt idx="0">
                  <c:v>1</c:v>
                </c:pt>
                <c:pt idx="1">
                  <c:v>1.1000000000000001</c:v>
                </c:pt>
                <c:pt idx="2">
                  <c:v>1.2000000000000002</c:v>
                </c:pt>
                <c:pt idx="3">
                  <c:v>0.79999999999999993</c:v>
                </c:pt>
                <c:pt idx="4">
                  <c:v>0.79999999999999993</c:v>
                </c:pt>
                <c:pt idx="5">
                  <c:v>0.8</c:v>
                </c:pt>
                <c:pt idx="6">
                  <c:v>0.84470356260421864</c:v>
                </c:pt>
                <c:pt idx="7">
                  <c:v>0.96509300972979373</c:v>
                </c:pt>
                <c:pt idx="8" formatCode="#,##0.0">
                  <c:v>1.0722643452213798</c:v>
                </c:pt>
                <c:pt idx="9">
                  <c:v>0.8809089959494435</c:v>
                </c:pt>
                <c:pt idx="10">
                  <c:v>0.610055395834794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AA-4F22-A32D-51BA8B9597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87904256"/>
        <c:axId val="87905792"/>
      </c:barChart>
      <c:catAx>
        <c:axId val="879042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9525">
            <a:solidFill>
              <a:srgbClr val="B5C0C9"/>
            </a:solidFill>
          </a:ln>
        </c:spPr>
        <c:txPr>
          <a:bodyPr/>
          <a:lstStyle/>
          <a:p>
            <a:pPr>
              <a:defRPr sz="1100" b="0"/>
            </a:pPr>
            <a:endParaRPr lang="de-DE"/>
          </a:p>
        </c:txPr>
        <c:crossAx val="87905792"/>
        <c:crosses val="autoZero"/>
        <c:auto val="1"/>
        <c:lblAlgn val="ctr"/>
        <c:lblOffset val="100"/>
        <c:noMultiLvlLbl val="0"/>
      </c:catAx>
      <c:valAx>
        <c:axId val="87905792"/>
        <c:scaling>
          <c:orientation val="minMax"/>
        </c:scaling>
        <c:delete val="0"/>
        <c:axPos val="b"/>
        <c:majorGridlines>
          <c:spPr>
            <a:ln w="9525">
              <a:solidFill>
                <a:srgbClr val="B5C0C9"/>
              </a:solidFill>
            </a:ln>
          </c:spPr>
        </c:majorGridlines>
        <c:numFmt formatCode="0%" sourceLinked="1"/>
        <c:majorTickMark val="out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87904256"/>
        <c:crosses val="autoZero"/>
        <c:crossBetween val="between"/>
      </c:valAx>
      <c:spPr>
        <a:ln>
          <a:noFill/>
        </a:ln>
      </c:spPr>
    </c:plotArea>
    <c:legend>
      <c:legendPos val="b"/>
      <c:layout>
        <c:manualLayout>
          <c:xMode val="edge"/>
          <c:yMode val="edge"/>
          <c:x val="8.596150381050098E-2"/>
          <c:y val="0.92434884496037906"/>
          <c:w val="0.89999990421894016"/>
          <c:h val="7.5651155039620915E-2"/>
        </c:manualLayout>
      </c:layout>
      <c:overlay val="0"/>
      <c:txPr>
        <a:bodyPr/>
        <a:lstStyle/>
        <a:p>
          <a:pPr>
            <a:defRPr sz="1200" b="1"/>
          </a:pPr>
          <a:endParaRPr lang="de-DE"/>
        </a:p>
      </c:txPr>
    </c:legend>
    <c:plotVisOnly val="1"/>
    <c:dispBlanksAs val="zero"/>
    <c:showDLblsOverMax val="0"/>
  </c:chart>
  <c:txPr>
    <a:bodyPr/>
    <a:lstStyle/>
    <a:p>
      <a:pPr>
        <a:defRPr sz="1200"/>
      </a:pPr>
      <a:endParaRPr lang="de-DE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312709056202221E-2"/>
          <c:y val="1.8679094587028926E-2"/>
          <c:w val="0.88706661151515764"/>
          <c:h val="0.7970198620846478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Gas¹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AB$1</c:f>
              <c:strCache>
                <c:ptCount val="27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  <c:pt idx="21">
                  <c:v>2019</c:v>
                </c:pt>
                <c:pt idx="22">
                  <c:v>2020</c:v>
                </c:pt>
                <c:pt idx="23">
                  <c:v>2021</c:v>
                </c:pt>
                <c:pt idx="24">
                  <c:v>2022</c:v>
                </c:pt>
                <c:pt idx="25">
                  <c:v>2023</c:v>
                </c:pt>
                <c:pt idx="26">
                  <c:v>2024</c:v>
                </c:pt>
              </c:strCache>
            </c:strRef>
          </c:cat>
          <c:val>
            <c:numRef>
              <c:f>Tabelle1!$B$2:$AB$2</c:f>
              <c:numCache>
                <c:formatCode>0.0</c:formatCode>
                <c:ptCount val="27"/>
                <c:pt idx="0">
                  <c:v>40.105536559413984</c:v>
                </c:pt>
                <c:pt idx="1">
                  <c:v>40.785268650682887</c:v>
                </c:pt>
                <c:pt idx="2">
                  <c:v>41.453069276867893</c:v>
                </c:pt>
                <c:pt idx="3">
                  <c:v>42.091492636790761</c:v>
                </c:pt>
                <c:pt idx="4">
                  <c:v>42.765652524014172</c:v>
                </c:pt>
                <c:pt idx="5">
                  <c:v>43.483520086381581</c:v>
                </c:pt>
                <c:pt idx="6">
                  <c:v>44.279547954199501</c:v>
                </c:pt>
                <c:pt idx="7">
                  <c:v>45.150462889886995</c:v>
                </c:pt>
                <c:pt idx="8">
                  <c:v>45.921263245208841</c:v>
                </c:pt>
                <c:pt idx="9">
                  <c:v>46.616722695137781</c:v>
                </c:pt>
                <c:pt idx="10">
                  <c:v>47.310008710513017</c:v>
                </c:pt>
                <c:pt idx="11">
                  <c:v>47.938274661910057</c:v>
                </c:pt>
                <c:pt idx="12">
                  <c:v>48.607063499739411</c:v>
                </c:pt>
                <c:pt idx="13">
                  <c:v>49.405167983456778</c:v>
                </c:pt>
                <c:pt idx="14">
                  <c:v>50.117703554373385</c:v>
                </c:pt>
                <c:pt idx="15">
                  <c:v>50.922772658467736</c:v>
                </c:pt>
                <c:pt idx="16">
                  <c:v>51.585816794736182</c:v>
                </c:pt>
                <c:pt idx="17">
                  <c:v>52.383036010654067</c:v>
                </c:pt>
                <c:pt idx="18">
                  <c:v>53.243431099162876</c:v>
                </c:pt>
                <c:pt idx="19">
                  <c:v>54.023612793204443</c:v>
                </c:pt>
                <c:pt idx="20">
                  <c:v>54.692187068197953</c:v>
                </c:pt>
                <c:pt idx="21">
                  <c:v>55.321664105064613</c:v>
                </c:pt>
                <c:pt idx="22">
                  <c:v>55.811406260342402</c:v>
                </c:pt>
                <c:pt idx="23">
                  <c:v>56.272385352453014</c:v>
                </c:pt>
                <c:pt idx="24">
                  <c:v>56.38869146860884</c:v>
                </c:pt>
                <c:pt idx="25">
                  <c:v>56.152138489301969</c:v>
                </c:pt>
                <c:pt idx="26">
                  <c:v>56.1417853856176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93-4DB7-B682-C0E5E701F13D}"/>
            </c:ext>
          </c:extLst>
        </c:ser>
        <c:ser>
          <c:idx val="1"/>
          <c:order val="1"/>
          <c:tx>
            <c:strRef>
              <c:f>Tabelle1!$A$3</c:f>
              <c:strCache>
                <c:ptCount val="1"/>
                <c:pt idx="0">
                  <c:v>Fernwärme</c:v>
                </c:pt>
              </c:strCache>
            </c:strRef>
          </c:tx>
          <c:spPr>
            <a:solidFill>
              <a:srgbClr val="7B0B6D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AB$1</c:f>
              <c:strCache>
                <c:ptCount val="27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  <c:pt idx="21">
                  <c:v>2019</c:v>
                </c:pt>
                <c:pt idx="22">
                  <c:v>2020</c:v>
                </c:pt>
                <c:pt idx="23">
                  <c:v>2021</c:v>
                </c:pt>
                <c:pt idx="24">
                  <c:v>2022</c:v>
                </c:pt>
                <c:pt idx="25">
                  <c:v>2023</c:v>
                </c:pt>
                <c:pt idx="26">
                  <c:v>2024</c:v>
                </c:pt>
              </c:strCache>
            </c:strRef>
          </c:cat>
          <c:val>
            <c:numRef>
              <c:f>Tabelle1!$B$3:$AB$3</c:f>
              <c:numCache>
                <c:formatCode>0.0</c:formatCode>
                <c:ptCount val="27"/>
                <c:pt idx="0">
                  <c:v>14.295339396326849</c:v>
                </c:pt>
                <c:pt idx="1">
                  <c:v>14.229909434979023</c:v>
                </c:pt>
                <c:pt idx="2">
                  <c:v>14.171096677709542</c:v>
                </c:pt>
                <c:pt idx="3">
                  <c:v>14.130170274863792</c:v>
                </c:pt>
                <c:pt idx="4">
                  <c:v>14.110919750890467</c:v>
                </c:pt>
                <c:pt idx="5">
                  <c:v>14.106634123400843</c:v>
                </c:pt>
                <c:pt idx="6">
                  <c:v>14.113588396199289</c:v>
                </c:pt>
                <c:pt idx="7">
                  <c:v>14.117598723572756</c:v>
                </c:pt>
                <c:pt idx="8">
                  <c:v>14.143481671154454</c:v>
                </c:pt>
                <c:pt idx="9">
                  <c:v>14.155045059020384</c:v>
                </c:pt>
                <c:pt idx="10">
                  <c:v>14.176930065378031</c:v>
                </c:pt>
                <c:pt idx="11">
                  <c:v>14.213472601913129</c:v>
                </c:pt>
                <c:pt idx="12">
                  <c:v>14.261004286692836</c:v>
                </c:pt>
                <c:pt idx="13">
                  <c:v>14.312026986580721</c:v>
                </c:pt>
                <c:pt idx="14">
                  <c:v>14.370302912464034</c:v>
                </c:pt>
                <c:pt idx="15">
                  <c:v>14.433715828922889</c:v>
                </c:pt>
                <c:pt idx="16">
                  <c:v>14.517632962698677</c:v>
                </c:pt>
                <c:pt idx="17">
                  <c:v>14.593451481380484</c:v>
                </c:pt>
                <c:pt idx="18">
                  <c:v>14.676135664816847</c:v>
                </c:pt>
                <c:pt idx="19">
                  <c:v>14.75865956642043</c:v>
                </c:pt>
                <c:pt idx="20">
                  <c:v>14.849754013010697</c:v>
                </c:pt>
                <c:pt idx="21">
                  <c:v>14.949155022106401</c:v>
                </c:pt>
                <c:pt idx="22">
                  <c:v>15.050676445343841</c:v>
                </c:pt>
                <c:pt idx="23">
                  <c:v>15.146614456157916</c:v>
                </c:pt>
                <c:pt idx="24">
                  <c:v>15.243117327871159</c:v>
                </c:pt>
                <c:pt idx="25">
                  <c:v>15.342775016610117</c:v>
                </c:pt>
                <c:pt idx="26">
                  <c:v>15.478272327421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D93-4DB7-B682-C0E5E701F13D}"/>
            </c:ext>
          </c:extLst>
        </c:ser>
        <c:ser>
          <c:idx val="2"/>
          <c:order val="2"/>
          <c:tx>
            <c:strRef>
              <c:f>Tabelle1!$A$4</c:f>
              <c:strCache>
                <c:ptCount val="1"/>
                <c:pt idx="0">
                  <c:v>Strom</c:v>
                </c:pt>
              </c:strCache>
            </c:strRef>
          </c:tx>
          <c:spPr>
            <a:solidFill>
              <a:srgbClr val="FF7F24"/>
            </a:solidFill>
            <a:ln w="9525"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AB$1</c:f>
              <c:strCache>
                <c:ptCount val="27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  <c:pt idx="21">
                  <c:v>2019</c:v>
                </c:pt>
                <c:pt idx="22">
                  <c:v>2020</c:v>
                </c:pt>
                <c:pt idx="23">
                  <c:v>2021</c:v>
                </c:pt>
                <c:pt idx="24">
                  <c:v>2022</c:v>
                </c:pt>
                <c:pt idx="25">
                  <c:v>2023</c:v>
                </c:pt>
                <c:pt idx="26">
                  <c:v>2024</c:v>
                </c:pt>
              </c:strCache>
            </c:strRef>
          </c:cat>
          <c:val>
            <c:numRef>
              <c:f>Tabelle1!$B$4:$AB$4</c:f>
              <c:numCache>
                <c:formatCode>0.0</c:formatCode>
                <c:ptCount val="27"/>
                <c:pt idx="0">
                  <c:v>5.8544301147766227</c:v>
                </c:pt>
                <c:pt idx="1">
                  <c:v>5.6661097115326005</c:v>
                </c:pt>
                <c:pt idx="2">
                  <c:v>5.4886677633873111</c:v>
                </c:pt>
                <c:pt idx="3">
                  <c:v>5.3266616424518691</c:v>
                </c:pt>
                <c:pt idx="4">
                  <c:v>5.1814428961569847</c:v>
                </c:pt>
                <c:pt idx="5">
                  <c:v>5.047454251620862</c:v>
                </c:pt>
                <c:pt idx="6">
                  <c:v>4.8954319077886224</c:v>
                </c:pt>
                <c:pt idx="7">
                  <c:v>4.7230408436011722</c:v>
                </c:pt>
                <c:pt idx="8">
                  <c:v>4.5371533173233818</c:v>
                </c:pt>
                <c:pt idx="9">
                  <c:v>4.4867797366665352</c:v>
                </c:pt>
                <c:pt idx="10">
                  <c:v>4.3015633396149235</c:v>
                </c:pt>
                <c:pt idx="11">
                  <c:v>4.1746949354188159</c:v>
                </c:pt>
                <c:pt idx="12">
                  <c:v>4.0346814348860542</c:v>
                </c:pt>
                <c:pt idx="13">
                  <c:v>3.7867646097852674</c:v>
                </c:pt>
                <c:pt idx="14">
                  <c:v>3.6563036556637387</c:v>
                </c:pt>
                <c:pt idx="15">
                  <c:v>3.4982611399935122</c:v>
                </c:pt>
                <c:pt idx="16">
                  <c:v>3.3725330626990702</c:v>
                </c:pt>
                <c:pt idx="17">
                  <c:v>3.2656298414026965</c:v>
                </c:pt>
                <c:pt idx="18">
                  <c:v>3.0508939721677684</c:v>
                </c:pt>
                <c:pt idx="19">
                  <c:v>2.9103613179730119</c:v>
                </c:pt>
                <c:pt idx="20">
                  <c:v>2.8669855120956469</c:v>
                </c:pt>
                <c:pt idx="21">
                  <c:v>2.7898980845415613</c:v>
                </c:pt>
                <c:pt idx="22">
                  <c:v>2.7169672751163563</c:v>
                </c:pt>
                <c:pt idx="23">
                  <c:v>2.6313862161186461</c:v>
                </c:pt>
                <c:pt idx="24">
                  <c:v>2.5753616229672476</c:v>
                </c:pt>
                <c:pt idx="25">
                  <c:v>2.5204027387554646</c:v>
                </c:pt>
                <c:pt idx="26">
                  <c:v>2.47177897415333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D93-4DB7-B682-C0E5E701F13D}"/>
            </c:ext>
          </c:extLst>
        </c:ser>
        <c:ser>
          <c:idx val="3"/>
          <c:order val="3"/>
          <c:tx>
            <c:strRef>
              <c:f>Tabelle1!$A$5</c:f>
              <c:strCache>
                <c:ptCount val="1"/>
                <c:pt idx="0">
                  <c:v>Elektro-Wärmepumpen, 
Solar-/Geothermie</c:v>
                </c:pt>
              </c:strCache>
            </c:strRef>
          </c:tx>
          <c:spPr>
            <a:solidFill>
              <a:schemeClr val="accent5"/>
            </a:solidFill>
            <a:ln w="9525">
              <a:noFill/>
            </a:ln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69D1-4373-9CFF-D211C7428F6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9D1-4373-9CFF-D211C7428F6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9D1-4373-9CFF-D211C7428F6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9D1-4373-9CFF-D211C7428F6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9D1-4373-9CFF-D211C7428F6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9D1-4373-9CFF-D211C7428F6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9D1-4373-9CFF-D211C7428F6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9D1-4373-9CFF-D211C7428F6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9D1-4373-9CFF-D211C7428F6D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9D1-4373-9CFF-D211C7428F6D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9D1-4373-9CFF-D211C7428F6D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9D1-4373-9CFF-D211C7428F6D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9D1-4373-9CFF-D211C7428F6D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9D1-4373-9CFF-D211C7428F6D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69D1-4373-9CFF-D211C7428F6D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9D1-4373-9CFF-D211C7428F6D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69D1-4373-9CFF-D211C7428F6D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69D1-4373-9CFF-D211C7428F6D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69D1-4373-9CFF-D211C7428F6D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69D1-4373-9CFF-D211C7428F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tx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AB$1</c:f>
              <c:strCache>
                <c:ptCount val="27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  <c:pt idx="21">
                  <c:v>2019</c:v>
                </c:pt>
                <c:pt idx="22">
                  <c:v>2020</c:v>
                </c:pt>
                <c:pt idx="23">
                  <c:v>2021</c:v>
                </c:pt>
                <c:pt idx="24">
                  <c:v>2022</c:v>
                </c:pt>
                <c:pt idx="25">
                  <c:v>2023</c:v>
                </c:pt>
                <c:pt idx="26">
                  <c:v>2024</c:v>
                </c:pt>
              </c:strCache>
            </c:strRef>
          </c:cat>
          <c:val>
            <c:numRef>
              <c:f>Tabelle1!$B$5:$AB$5</c:f>
              <c:numCache>
                <c:formatCode>0.0</c:formatCode>
                <c:ptCount val="27"/>
                <c:pt idx="0">
                  <c:v>0.23210504211574048</c:v>
                </c:pt>
                <c:pt idx="1">
                  <c:v>0.24760195328142046</c:v>
                </c:pt>
                <c:pt idx="2">
                  <c:v>0.26298608585248473</c:v>
                </c:pt>
                <c:pt idx="3">
                  <c:v>0.27819361275896909</c:v>
                </c:pt>
                <c:pt idx="4">
                  <c:v>0.29421545003240429</c:v>
                </c:pt>
                <c:pt idx="5">
                  <c:v>0.3120997683143833</c:v>
                </c:pt>
                <c:pt idx="6">
                  <c:v>0.33605829112207308</c:v>
                </c:pt>
                <c:pt idx="7">
                  <c:v>0.37429812372247145</c:v>
                </c:pt>
                <c:pt idx="8">
                  <c:v>0.48109402909097687</c:v>
                </c:pt>
                <c:pt idx="9">
                  <c:v>0.5871431017191574</c:v>
                </c:pt>
                <c:pt idx="10">
                  <c:v>0.72481762297837993</c:v>
                </c:pt>
                <c:pt idx="11">
                  <c:v>0.83784606597408617</c:v>
                </c:pt>
                <c:pt idx="12">
                  <c:v>0.9474607117920687</c:v>
                </c:pt>
                <c:pt idx="13">
                  <c:v>1.0702901701553471</c:v>
                </c:pt>
                <c:pt idx="14">
                  <c:v>1.1902813911395789</c:v>
                </c:pt>
                <c:pt idx="15">
                  <c:v>1.3105836255710057</c:v>
                </c:pt>
                <c:pt idx="16">
                  <c:v>1.4252789097641863</c:v>
                </c:pt>
                <c:pt idx="17">
                  <c:v>1.5359292230594368</c:v>
                </c:pt>
                <c:pt idx="18">
                  <c:v>1.6678907738787125</c:v>
                </c:pt>
                <c:pt idx="19">
                  <c:v>1.8232447315051601</c:v>
                </c:pt>
                <c:pt idx="20">
                  <c:v>1.9906588092245916</c:v>
                </c:pt>
                <c:pt idx="21">
                  <c:v>2.1598957563990031</c:v>
                </c:pt>
                <c:pt idx="22">
                  <c:v>2.3999772254999763</c:v>
                </c:pt>
                <c:pt idx="23">
                  <c:v>2.7281633366531861</c:v>
                </c:pt>
                <c:pt idx="24">
                  <c:v>3.1943720449885347</c:v>
                </c:pt>
                <c:pt idx="25">
                  <c:v>3.9545971708438725</c:v>
                </c:pt>
                <c:pt idx="26">
                  <c:v>4.35013690089505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D93-4DB7-B682-C0E5E701F13D}"/>
            </c:ext>
          </c:extLst>
        </c:ser>
        <c:ser>
          <c:idx val="4"/>
          <c:order val="4"/>
          <c:tx>
            <c:strRef>
              <c:f>Tabelle1!$A$6</c:f>
              <c:strCache>
                <c:ptCount val="1"/>
                <c:pt idx="0">
                  <c:v>Holz</c:v>
                </c:pt>
              </c:strCache>
            </c:strRef>
          </c:tx>
          <c:spPr>
            <a:solidFill>
              <a:srgbClr val="CD853F"/>
            </a:solidFill>
            <a:ln w="9525">
              <a:noFill/>
            </a:ln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D93-4DB7-B682-C0E5E701F13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D93-4DB7-B682-C0E5E701F13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D93-4DB7-B682-C0E5E701F13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D93-4DB7-B682-C0E5E701F13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D93-4DB7-B682-C0E5E701F13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D93-4DB7-B682-C0E5E701F13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D93-4DB7-B682-C0E5E701F13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D93-4DB7-B682-C0E5E701F13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6D93-4DB7-B682-C0E5E701F13D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6D93-4DB7-B682-C0E5E701F13D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6D93-4DB7-B682-C0E5E701F13D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6D93-4DB7-B682-C0E5E701F13D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D93-4DB7-B682-C0E5E701F13D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6D93-4DB7-B682-C0E5E701F13D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D93-4DB7-B682-C0E5E701F13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:$AB$1</c:f>
              <c:strCache>
                <c:ptCount val="27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  <c:pt idx="21">
                  <c:v>2019</c:v>
                </c:pt>
                <c:pt idx="22">
                  <c:v>2020</c:v>
                </c:pt>
                <c:pt idx="23">
                  <c:v>2021</c:v>
                </c:pt>
                <c:pt idx="24">
                  <c:v>2022</c:v>
                </c:pt>
                <c:pt idx="25">
                  <c:v>2023</c:v>
                </c:pt>
                <c:pt idx="26">
                  <c:v>2024</c:v>
                </c:pt>
              </c:strCache>
            </c:strRef>
          </c:cat>
          <c:val>
            <c:numRef>
              <c:f>Tabelle1!$B$6:$AB$6</c:f>
              <c:numCache>
                <c:formatCode>0.0</c:formatCode>
                <c:ptCount val="27"/>
                <c:pt idx="0">
                  <c:v>2.6435569856444583</c:v>
                </c:pt>
                <c:pt idx="1">
                  <c:v>2.7619133505235771</c:v>
                </c:pt>
                <c:pt idx="2">
                  <c:v>2.8794516587950172</c:v>
                </c:pt>
                <c:pt idx="3">
                  <c:v>2.9994701395538126</c:v>
                </c:pt>
                <c:pt idx="4">
                  <c:v>3.124124587844308</c:v>
                </c:pt>
                <c:pt idx="5">
                  <c:v>3.251450496523645</c:v>
                </c:pt>
                <c:pt idx="6">
                  <c:v>3.3796194685666885</c:v>
                </c:pt>
                <c:pt idx="7">
                  <c:v>3.5059089967844734</c:v>
                </c:pt>
                <c:pt idx="8">
                  <c:v>3.6338835606176758</c:v>
                </c:pt>
                <c:pt idx="9">
                  <c:v>3.7594319720400842</c:v>
                </c:pt>
                <c:pt idx="10">
                  <c:v>3.887215363770105</c:v>
                </c:pt>
                <c:pt idx="11">
                  <c:v>4.0165462844459672</c:v>
                </c:pt>
                <c:pt idx="12">
                  <c:v>4.0047844977058968</c:v>
                </c:pt>
                <c:pt idx="13">
                  <c:v>4.0094837571461239</c:v>
                </c:pt>
                <c:pt idx="14">
                  <c:v>4.0167930374690419</c:v>
                </c:pt>
                <c:pt idx="15">
                  <c:v>4.0263024930145264</c:v>
                </c:pt>
                <c:pt idx="16">
                  <c:v>4.0430858484052861</c:v>
                </c:pt>
                <c:pt idx="17">
                  <c:v>4.0544331416203478</c:v>
                </c:pt>
                <c:pt idx="18">
                  <c:v>4.0633741844260003</c:v>
                </c:pt>
                <c:pt idx="19">
                  <c:v>4.0719229277237359</c:v>
                </c:pt>
                <c:pt idx="20">
                  <c:v>4.0828463602190803</c:v>
                </c:pt>
                <c:pt idx="21">
                  <c:v>4.0890537284604811</c:v>
                </c:pt>
                <c:pt idx="22">
                  <c:v>4.0938845127986268</c:v>
                </c:pt>
                <c:pt idx="23">
                  <c:v>4.0927093037089284</c:v>
                </c:pt>
                <c:pt idx="24">
                  <c:v>4.0926280731661411</c:v>
                </c:pt>
                <c:pt idx="25">
                  <c:v>4.0942471942916168</c:v>
                </c:pt>
                <c:pt idx="26">
                  <c:v>4.10524506119005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D93-4DB7-B682-C0E5E701F13D}"/>
            </c:ext>
          </c:extLst>
        </c:ser>
        <c:ser>
          <c:idx val="5"/>
          <c:order val="5"/>
          <c:tx>
            <c:strRef>
              <c:f>Tabelle1!$A$7</c:f>
              <c:strCache>
                <c:ptCount val="1"/>
                <c:pt idx="0">
                  <c:v>Heizöl</c:v>
                </c:pt>
              </c:strCache>
            </c:strRef>
          </c:tx>
          <c:spPr>
            <a:solidFill>
              <a:srgbClr val="477390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:$AB$1</c:f>
              <c:strCache>
                <c:ptCount val="27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  <c:pt idx="21">
                  <c:v>2019</c:v>
                </c:pt>
                <c:pt idx="22">
                  <c:v>2020</c:v>
                </c:pt>
                <c:pt idx="23">
                  <c:v>2021</c:v>
                </c:pt>
                <c:pt idx="24">
                  <c:v>2022</c:v>
                </c:pt>
                <c:pt idx="25">
                  <c:v>2023</c:v>
                </c:pt>
                <c:pt idx="26">
                  <c:v>2024</c:v>
                </c:pt>
              </c:strCache>
            </c:strRef>
          </c:cat>
          <c:val>
            <c:numRef>
              <c:f>Tabelle1!$B$7:$AB$7</c:f>
              <c:numCache>
                <c:formatCode>0.0</c:formatCode>
                <c:ptCount val="27"/>
                <c:pt idx="0">
                  <c:v>33.026936671006098</c:v>
                </c:pt>
                <c:pt idx="1">
                  <c:v>32.667910556361548</c:v>
                </c:pt>
                <c:pt idx="2">
                  <c:v>32.296829663953929</c:v>
                </c:pt>
                <c:pt idx="3">
                  <c:v>31.90946495543113</c:v>
                </c:pt>
                <c:pt idx="4">
                  <c:v>31.432051259019001</c:v>
                </c:pt>
                <c:pt idx="5">
                  <c:v>30.873602818591475</c:v>
                </c:pt>
                <c:pt idx="6">
                  <c:v>30.232966639386884</c:v>
                </c:pt>
                <c:pt idx="7">
                  <c:v>29.527058642938776</c:v>
                </c:pt>
                <c:pt idx="8">
                  <c:v>28.838882682373676</c:v>
                </c:pt>
                <c:pt idx="9">
                  <c:v>28.107387361367213</c:v>
                </c:pt>
                <c:pt idx="10">
                  <c:v>27.46532831588004</c:v>
                </c:pt>
                <c:pt idx="11">
                  <c:v>26.835924677808386</c:v>
                </c:pt>
                <c:pt idx="12">
                  <c:v>26.311046803461309</c:v>
                </c:pt>
                <c:pt idx="13">
                  <c:v>25.731072270914854</c:v>
                </c:pt>
                <c:pt idx="14">
                  <c:v>25.112099120921009</c:v>
                </c:pt>
                <c:pt idx="15">
                  <c:v>24.420043899797452</c:v>
                </c:pt>
                <c:pt idx="16">
                  <c:v>23.814709023102068</c:v>
                </c:pt>
                <c:pt idx="17">
                  <c:v>23.073634085003913</c:v>
                </c:pt>
                <c:pt idx="18">
                  <c:v>22.349875601280569</c:v>
                </c:pt>
                <c:pt idx="19">
                  <c:v>21.608402277015418</c:v>
                </c:pt>
                <c:pt idx="20">
                  <c:v>20.85680428184817</c:v>
                </c:pt>
                <c:pt idx="21">
                  <c:v>20.170918294574278</c:v>
                </c:pt>
                <c:pt idx="22">
                  <c:v>19.547389013621732</c:v>
                </c:pt>
                <c:pt idx="23">
                  <c:v>18.887110010357596</c:v>
                </c:pt>
                <c:pt idx="24">
                  <c:v>18.274017267551308</c:v>
                </c:pt>
                <c:pt idx="25">
                  <c:v>17.728551244957632</c:v>
                </c:pt>
                <c:pt idx="26">
                  <c:v>17.2693280285970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D93-4DB7-B682-C0E5E701F13D}"/>
            </c:ext>
          </c:extLst>
        </c:ser>
        <c:ser>
          <c:idx val="6"/>
          <c:order val="6"/>
          <c:tx>
            <c:strRef>
              <c:f>Tabelle1!$A$8</c:f>
              <c:strCache>
                <c:ptCount val="1"/>
                <c:pt idx="0">
                  <c:v>Sonstige²</c:v>
                </c:pt>
              </c:strCache>
            </c:strRef>
          </c:tx>
          <c:spPr>
            <a:solidFill>
              <a:srgbClr val="B5C0C9"/>
            </a:solidFill>
          </c:spPr>
          <c:invertIfNegative val="0"/>
          <c:dLbls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69D1-4373-9CFF-D211C7428F6D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69D1-4373-9CFF-D211C7428F6D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69D1-4373-9CFF-D211C7428F6D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69D1-4373-9CFF-D211C7428F6D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69D1-4373-9CFF-D211C7428F6D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69D1-4373-9CFF-D211C7428F6D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69D1-4373-9CFF-D211C7428F6D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69D1-4373-9CFF-D211C7428F6D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69D1-4373-9CFF-D211C7428F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:$AB$1</c:f>
              <c:strCache>
                <c:ptCount val="27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  <c:pt idx="21">
                  <c:v>2019</c:v>
                </c:pt>
                <c:pt idx="22">
                  <c:v>2020</c:v>
                </c:pt>
                <c:pt idx="23">
                  <c:v>2021</c:v>
                </c:pt>
                <c:pt idx="24">
                  <c:v>2022</c:v>
                </c:pt>
                <c:pt idx="25">
                  <c:v>2023</c:v>
                </c:pt>
                <c:pt idx="26">
                  <c:v>2024</c:v>
                </c:pt>
              </c:strCache>
            </c:strRef>
          </c:cat>
          <c:val>
            <c:numRef>
              <c:f>Tabelle1!$B$8:$AB$8</c:f>
              <c:numCache>
                <c:formatCode>0.0</c:formatCode>
                <c:ptCount val="27"/>
                <c:pt idx="0">
                  <c:v>3.8420952307162555</c:v>
                </c:pt>
                <c:pt idx="1">
                  <c:v>3.6412863426389523</c:v>
                </c:pt>
                <c:pt idx="2">
                  <c:v>3.4478988734338167</c:v>
                </c:pt>
                <c:pt idx="3">
                  <c:v>3.2645467381496593</c:v>
                </c:pt>
                <c:pt idx="4">
                  <c:v>3.0915935320426584</c:v>
                </c:pt>
                <c:pt idx="5">
                  <c:v>2.9252384551672046</c:v>
                </c:pt>
                <c:pt idx="6">
                  <c:v>2.7627873427369463</c:v>
                </c:pt>
                <c:pt idx="7">
                  <c:v>2.6016317794933648</c:v>
                </c:pt>
                <c:pt idx="8">
                  <c:v>2.4442414942310005</c:v>
                </c:pt>
                <c:pt idx="9">
                  <c:v>2.2874900740488386</c:v>
                </c:pt>
                <c:pt idx="10">
                  <c:v>2.1341365818655089</c:v>
                </c:pt>
                <c:pt idx="11">
                  <c:v>1.9832407725295538</c:v>
                </c:pt>
                <c:pt idx="12">
                  <c:v>1.8339587657224257</c:v>
                </c:pt>
                <c:pt idx="13">
                  <c:v>1.6851942219609064</c:v>
                </c:pt>
                <c:pt idx="14">
                  <c:v>1.5365163279692078</c:v>
                </c:pt>
                <c:pt idx="15">
                  <c:v>1.3883203542328857</c:v>
                </c:pt>
                <c:pt idx="16">
                  <c:v>1.2409433985945375</c:v>
                </c:pt>
                <c:pt idx="17">
                  <c:v>1.0938862168790533</c:v>
                </c:pt>
                <c:pt idx="18">
                  <c:v>0.94839870426721939</c:v>
                </c:pt>
                <c:pt idx="19">
                  <c:v>0.80379638615779936</c:v>
                </c:pt>
                <c:pt idx="20">
                  <c:v>0.66076395540387267</c:v>
                </c:pt>
                <c:pt idx="21">
                  <c:v>0.51941500885366554</c:v>
                </c:pt>
                <c:pt idx="22">
                  <c:v>0.37969926727707909</c:v>
                </c:pt>
                <c:pt idx="23">
                  <c:v>0.24163132455071457</c:v>
                </c:pt>
                <c:pt idx="24">
                  <c:v>0.23181219484677318</c:v>
                </c:pt>
                <c:pt idx="25">
                  <c:v>0.20728814523934103</c:v>
                </c:pt>
                <c:pt idx="26">
                  <c:v>0.183453322125252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50-4FDC-B606-F859D56189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56794112"/>
        <c:axId val="56800384"/>
        <c:extLst>
          <c:ext xmlns:c15="http://schemas.microsoft.com/office/drawing/2012/chart" uri="{02D57815-91ED-43cb-92C2-25804820EDAC}">
            <c15:filteredBarSeries>
              <c15:ser>
                <c:idx val="7"/>
                <c:order val="7"/>
                <c:tx>
                  <c:strRef>
                    <c:extLst>
                      <c:ext uri="{02D57815-91ED-43cb-92C2-25804820EDAC}">
                        <c15:formulaRef>
                          <c15:sqref>Tabelle1!$A$9</c15:sqref>
                        </c15:formulaRef>
                      </c:ext>
                    </c:extLst>
                    <c:strCache>
                      <c:ptCount val="1"/>
                      <c:pt idx="0">
                        <c:v>Anzahl der Wohnungen in Mio.</c:v>
                      </c:pt>
                    </c:strCache>
                  </c:strRef>
                </c:tx>
                <c:spPr>
                  <a:solidFill>
                    <a:srgbClr val="B5C0C9"/>
                  </a:solidFill>
                  <a:ln w="9525">
                    <a:solidFill>
                      <a:schemeClr val="bg1"/>
                    </a:solidFill>
                  </a:ln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/>
                    <a:lstStyle/>
                    <a:p>
                      <a:pPr>
                        <a:defRPr sz="900">
                          <a:solidFill>
                            <a:schemeClr val="tx1"/>
                          </a:solidFill>
                        </a:defRPr>
                      </a:pPr>
                      <a:endParaRPr lang="de-DE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Tabelle1!$B$1:$AB$1</c15:sqref>
                        </c15:formulaRef>
                      </c:ext>
                    </c:extLst>
                    <c:strCache>
                      <c:ptCount val="27"/>
                      <c:pt idx="0">
                        <c:v>1998</c:v>
                      </c:pt>
                      <c:pt idx="1">
                        <c:v>1999</c:v>
                      </c:pt>
                      <c:pt idx="2">
                        <c:v>2000</c:v>
                      </c:pt>
                      <c:pt idx="3">
                        <c:v>2001</c:v>
                      </c:pt>
                      <c:pt idx="4">
                        <c:v>2002</c:v>
                      </c:pt>
                      <c:pt idx="5">
                        <c:v>2003</c:v>
                      </c:pt>
                      <c:pt idx="6">
                        <c:v>2004</c:v>
                      </c:pt>
                      <c:pt idx="7">
                        <c:v>2005</c:v>
                      </c:pt>
                      <c:pt idx="8">
                        <c:v>2006</c:v>
                      </c:pt>
                      <c:pt idx="9">
                        <c:v>2007</c:v>
                      </c:pt>
                      <c:pt idx="10">
                        <c:v>2008</c:v>
                      </c:pt>
                      <c:pt idx="11">
                        <c:v>2009</c:v>
                      </c:pt>
                      <c:pt idx="12">
                        <c:v>2010</c:v>
                      </c:pt>
                      <c:pt idx="13">
                        <c:v>2011</c:v>
                      </c:pt>
                      <c:pt idx="14">
                        <c:v>2012</c:v>
                      </c:pt>
                      <c:pt idx="15">
                        <c:v>2013</c:v>
                      </c:pt>
                      <c:pt idx="16">
                        <c:v>2014</c:v>
                      </c:pt>
                      <c:pt idx="17">
                        <c:v>2015</c:v>
                      </c:pt>
                      <c:pt idx="18">
                        <c:v>2016</c:v>
                      </c:pt>
                      <c:pt idx="19">
                        <c:v>2017</c:v>
                      </c:pt>
                      <c:pt idx="20">
                        <c:v>2018</c:v>
                      </c:pt>
                      <c:pt idx="21">
                        <c:v>2019</c:v>
                      </c:pt>
                      <c:pt idx="22">
                        <c:v>2020</c:v>
                      </c:pt>
                      <c:pt idx="23">
                        <c:v>2021</c:v>
                      </c:pt>
                      <c:pt idx="24">
                        <c:v>2022</c:v>
                      </c:pt>
                      <c:pt idx="25">
                        <c:v>2023</c:v>
                      </c:pt>
                      <c:pt idx="26">
                        <c:v>2024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Tabelle1!$B$9:$AB$9</c15:sqref>
                        </c15:formulaRef>
                      </c:ext>
                    </c:extLst>
                    <c:numCache>
                      <c:formatCode>0.0</c:formatCode>
                      <c:ptCount val="27"/>
                      <c:pt idx="0">
                        <c:v>37.476665166666663</c:v>
                      </c:pt>
                      <c:pt idx="1">
                        <c:v>37.947800333333326</c:v>
                      </c:pt>
                      <c:pt idx="2">
                        <c:v>38.391119500000002</c:v>
                      </c:pt>
                      <c:pt idx="3">
                        <c:v>38.767583500000001</c:v>
                      </c:pt>
                      <c:pt idx="4">
                        <c:v>39.057035666666664</c:v>
                      </c:pt>
                      <c:pt idx="5">
                        <c:v>39.291965833333336</c:v>
                      </c:pt>
                      <c:pt idx="6">
                        <c:v>39.499333999999998</c:v>
                      </c:pt>
                      <c:pt idx="7">
                        <c:v>39.712826166666666</c:v>
                      </c:pt>
                      <c:pt idx="8">
                        <c:v>39.892965333333336</c:v>
                      </c:pt>
                      <c:pt idx="9">
                        <c:v>40.086701499999997</c:v>
                      </c:pt>
                      <c:pt idx="10">
                        <c:v>40.244763666666664</c:v>
                      </c:pt>
                      <c:pt idx="11">
                        <c:v>40.377201833333338</c:v>
                      </c:pt>
                      <c:pt idx="12">
                        <c:v>40.495787</c:v>
                      </c:pt>
                      <c:pt idx="13">
                        <c:v>40.622910545454545</c:v>
                      </c:pt>
                      <c:pt idx="14">
                        <c:v>40.772352090909095</c:v>
                      </c:pt>
                      <c:pt idx="15">
                        <c:v>40.939596636363632</c:v>
                      </c:pt>
                      <c:pt idx="16">
                        <c:v>41.119656181818179</c:v>
                      </c:pt>
                      <c:pt idx="17">
                        <c:v>41.336160727272727</c:v>
                      </c:pt>
                      <c:pt idx="18">
                        <c:v>41.551034272727271</c:v>
                      </c:pt>
                      <c:pt idx="19">
                        <c:v>41.797696818181819</c:v>
                      </c:pt>
                      <c:pt idx="20">
                        <c:v>42.052427363636369</c:v>
                      </c:pt>
                      <c:pt idx="21">
                        <c:v>42.310326909090904</c:v>
                      </c:pt>
                      <c:pt idx="22">
                        <c:v>42.577141454545455</c:v>
                      </c:pt>
                      <c:pt idx="23">
                        <c:v>42.860337000000001</c:v>
                      </c:pt>
                      <c:pt idx="24">
                        <c:v>43.138368999999997</c:v>
                      </c:pt>
                      <c:pt idx="25">
                        <c:v>43.417822999999999</c:v>
                      </c:pt>
                      <c:pt idx="26">
                        <c:v>43.607823000000003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8450-4FDC-B606-F859D5618986}"/>
                  </c:ext>
                </c:extLst>
              </c15:ser>
            </c15:filteredBarSeries>
          </c:ext>
        </c:extLst>
      </c:barChart>
      <c:catAx>
        <c:axId val="5679411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b="1" i="0" u="none" strike="noStrike" kern="1200" baseline="0">
                    <a:solidFill>
                      <a:srgbClr val="00000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de-DE" sz="1400" b="1">
                    <a:effectLst/>
                    <a:latin typeface="Calibri" panose="020F0502020204030204" pitchFamily="34" charset="0"/>
                    <a:cs typeface="Calibri" panose="020F0502020204030204" pitchFamily="34" charset="0"/>
                  </a:rPr>
                  <a:t>Anteile der Energieträger in %</a:t>
                </a:r>
                <a:endParaRPr lang="de-DE"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c:rich>
          </c:tx>
          <c:layout>
            <c:manualLayout>
              <c:xMode val="edge"/>
              <c:yMode val="edge"/>
              <c:x val="8.3430737042552853E-4"/>
              <c:y val="8.3630252548162823E-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spPr>
          <a:ln w="9525">
            <a:solidFill>
              <a:srgbClr val="B5C0C9"/>
            </a:solidFill>
          </a:ln>
        </c:spPr>
        <c:txPr>
          <a:bodyPr/>
          <a:lstStyle/>
          <a:p>
            <a:pPr>
              <a:defRPr sz="900" b="0"/>
            </a:pPr>
            <a:endParaRPr lang="de-DE"/>
          </a:p>
        </c:txPr>
        <c:crossAx val="5680038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56800384"/>
        <c:scaling>
          <c:orientation val="minMax"/>
        </c:scaling>
        <c:delete val="0"/>
        <c:axPos val="b"/>
        <c:majorGridlines>
          <c:spPr>
            <a:ln w="9525">
              <a:solidFill>
                <a:srgbClr val="B5C0C9"/>
              </a:solidFill>
            </a:ln>
          </c:spPr>
        </c:majorGridlines>
        <c:numFmt formatCode="0%" sourceLinked="1"/>
        <c:majorTickMark val="out"/>
        <c:minorTickMark val="none"/>
        <c:tickLblPos val="nextTo"/>
        <c:spPr>
          <a:ln w="9525">
            <a:solidFill>
              <a:srgbClr val="B5C0C9"/>
            </a:solidFill>
          </a:ln>
        </c:spPr>
        <c:txPr>
          <a:bodyPr/>
          <a:lstStyle/>
          <a:p>
            <a:pPr>
              <a:defRPr sz="900"/>
            </a:pPr>
            <a:endParaRPr lang="de-DE"/>
          </a:p>
        </c:txPr>
        <c:crossAx val="5679411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1.5031846782864346E-2"/>
          <c:y val="0.87924032416677744"/>
          <c:w val="0.98424474874692525"/>
          <c:h val="0.10918944128939936"/>
        </c:manualLayout>
      </c:layout>
      <c:overlay val="0"/>
      <c:txPr>
        <a:bodyPr/>
        <a:lstStyle/>
        <a:p>
          <a:pPr algn="just">
            <a:defRPr sz="1200" b="1"/>
          </a:pPr>
          <a:endParaRPr lang="de-DE"/>
        </a:p>
      </c:txPr>
    </c:legend>
    <c:plotVisOnly val="1"/>
    <c:dispBlanksAs val="zero"/>
    <c:showDLblsOverMax val="0"/>
  </c:chart>
  <c:spPr>
    <a:ln>
      <a:noFill/>
    </a:ln>
  </c:spPr>
  <c:txPr>
    <a:bodyPr/>
    <a:lstStyle/>
    <a:p>
      <a:pPr>
        <a:defRPr sz="12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672202244701275E-2"/>
          <c:y val="8.1945306092160844E-2"/>
          <c:w val="0.91219599230046688"/>
          <c:h val="0.6327457438043306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ränderung gegenüber Vorjahresquartal in % (Ursprungswerte)</c:v>
                </c:pt>
              </c:strCache>
            </c:strRef>
          </c:tx>
          <c:spPr>
            <a:solidFill>
              <a:srgbClr val="C20000"/>
            </a:solidFill>
            <a:ln w="26832">
              <a:noFill/>
            </a:ln>
          </c:spPr>
          <c:invertIfNegative val="0"/>
          <c:dLbls>
            <c:dLbl>
              <c:idx val="0"/>
              <c:layout>
                <c:manualLayout>
                  <c:x val="8.9386119099136392E-4"/>
                  <c:y val="5.814558296474582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81D-4EDA-82A8-DB9D3FE61CE1}"/>
                </c:ext>
              </c:extLst>
            </c:dLbl>
            <c:numFmt formatCode="0.0" sourceLinked="0"/>
            <c:spPr>
              <a:noFill/>
              <a:ln w="26832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Calibri" panose="020F0502020204030204" pitchFamily="34" charset="0"/>
                    <a:ea typeface="Arial"/>
                    <a:cs typeface="Calibri" panose="020F050202020403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3</c:f>
              <c:strCache>
                <c:ptCount val="32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Q1</c:v>
                </c:pt>
                <c:pt idx="5">
                  <c:v>Q2</c:v>
                </c:pt>
                <c:pt idx="6">
                  <c:v>Q3</c:v>
                </c:pt>
                <c:pt idx="7">
                  <c:v>Q4</c:v>
                </c:pt>
                <c:pt idx="8">
                  <c:v>Q1</c:v>
                </c:pt>
                <c:pt idx="9">
                  <c:v>Q2</c:v>
                </c:pt>
                <c:pt idx="10">
                  <c:v>Q3</c:v>
                </c:pt>
                <c:pt idx="11">
                  <c:v>Q4</c:v>
                </c:pt>
                <c:pt idx="12">
                  <c:v>Q1</c:v>
                </c:pt>
                <c:pt idx="13">
                  <c:v>Q2</c:v>
                </c:pt>
                <c:pt idx="14">
                  <c:v>Q3</c:v>
                </c:pt>
                <c:pt idx="15">
                  <c:v>Q4</c:v>
                </c:pt>
                <c:pt idx="16">
                  <c:v>Q1</c:v>
                </c:pt>
                <c:pt idx="17">
                  <c:v>Q2</c:v>
                </c:pt>
                <c:pt idx="18">
                  <c:v>Q3</c:v>
                </c:pt>
                <c:pt idx="19">
                  <c:v>Q4</c:v>
                </c:pt>
                <c:pt idx="20">
                  <c:v>Q1</c:v>
                </c:pt>
                <c:pt idx="21">
                  <c:v>Q2</c:v>
                </c:pt>
                <c:pt idx="22">
                  <c:v>Q3</c:v>
                </c:pt>
                <c:pt idx="23">
                  <c:v>Q4</c:v>
                </c:pt>
                <c:pt idx="24">
                  <c:v>Q1</c:v>
                </c:pt>
                <c:pt idx="25">
                  <c:v>Q2</c:v>
                </c:pt>
                <c:pt idx="26">
                  <c:v>Q3</c:v>
                </c:pt>
                <c:pt idx="27">
                  <c:v>Q4</c:v>
                </c:pt>
                <c:pt idx="28">
                  <c:v>Q1</c:v>
                </c:pt>
                <c:pt idx="29">
                  <c:v>Q2</c:v>
                </c:pt>
                <c:pt idx="30">
                  <c:v>Q3</c:v>
                </c:pt>
                <c:pt idx="31">
                  <c:v>Q4</c:v>
                </c:pt>
              </c:strCache>
            </c:strRef>
          </c:cat>
          <c:val>
            <c:numRef>
              <c:f>Sheet1!$B$2:$B$33</c:f>
              <c:numCache>
                <c:formatCode>0.0</c:formatCode>
                <c:ptCount val="32"/>
                <c:pt idx="0">
                  <c:v>1.4</c:v>
                </c:pt>
                <c:pt idx="1">
                  <c:v>2.2000000000000002</c:v>
                </c:pt>
                <c:pt idx="2">
                  <c:v>0.4</c:v>
                </c:pt>
                <c:pt idx="3">
                  <c:v>0.4</c:v>
                </c:pt>
                <c:pt idx="4">
                  <c:v>1.2</c:v>
                </c:pt>
                <c:pt idx="5">
                  <c:v>0.1</c:v>
                </c:pt>
                <c:pt idx="6">
                  <c:v>2</c:v>
                </c:pt>
                <c:pt idx="7">
                  <c:v>0.6</c:v>
                </c:pt>
                <c:pt idx="8">
                  <c:v>-1.5</c:v>
                </c:pt>
                <c:pt idx="9">
                  <c:v>-10.8</c:v>
                </c:pt>
                <c:pt idx="10">
                  <c:v>-3.2</c:v>
                </c:pt>
                <c:pt idx="11">
                  <c:v>-1.1000000000000001</c:v>
                </c:pt>
                <c:pt idx="12">
                  <c:v>-0.7</c:v>
                </c:pt>
                <c:pt idx="13">
                  <c:v>12</c:v>
                </c:pt>
                <c:pt idx="14">
                  <c:v>2.8</c:v>
                </c:pt>
                <c:pt idx="15">
                  <c:v>2.4</c:v>
                </c:pt>
                <c:pt idx="16">
                  <c:v>4</c:v>
                </c:pt>
                <c:pt idx="17">
                  <c:v>1.5</c:v>
                </c:pt>
                <c:pt idx="18">
                  <c:v>1.6</c:v>
                </c:pt>
                <c:pt idx="19">
                  <c:v>0.2</c:v>
                </c:pt>
                <c:pt idx="20">
                  <c:v>0</c:v>
                </c:pt>
                <c:pt idx="21">
                  <c:v>-1.1000000000000001</c:v>
                </c:pt>
                <c:pt idx="22">
                  <c:v>-1.3</c:v>
                </c:pt>
                <c:pt idx="23">
                  <c:v>-1</c:v>
                </c:pt>
                <c:pt idx="24">
                  <c:v>-1.1000000000000001</c:v>
                </c:pt>
                <c:pt idx="25">
                  <c:v>-0.3</c:v>
                </c:pt>
                <c:pt idx="26">
                  <c:v>-0.2</c:v>
                </c:pt>
                <c:pt idx="27">
                  <c:v>-0.4</c:v>
                </c:pt>
                <c:pt idx="28">
                  <c:v>0</c:v>
                </c:pt>
                <c:pt idx="29">
                  <c:v>-0.1</c:v>
                </c:pt>
                <c:pt idx="30" formatCode="General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8055-4E38-935F-6F545F92BFB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0"/>
        <c:overlap val="90"/>
        <c:axId val="192027264"/>
        <c:axId val="1920577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Veränderung gegenüber Vorquartal in % (saison- und kalenderbereinigt)</c:v>
                </c:pt>
              </c:strCache>
            </c:strRef>
          </c:tx>
          <c:spPr>
            <a:ln w="40247">
              <a:solidFill>
                <a:srgbClr val="0068AF"/>
              </a:solidFill>
              <a:prstDash val="solid"/>
            </a:ln>
          </c:spPr>
          <c:marker>
            <c:symbol val="none"/>
          </c:marker>
          <c:dLbls>
            <c:delete val="1"/>
          </c:dLbls>
          <c:cat>
            <c:strRef>
              <c:f>Sheet1!$A$2:$A$33</c:f>
              <c:strCache>
                <c:ptCount val="32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Q1</c:v>
                </c:pt>
                <c:pt idx="5">
                  <c:v>Q2</c:v>
                </c:pt>
                <c:pt idx="6">
                  <c:v>Q3</c:v>
                </c:pt>
                <c:pt idx="7">
                  <c:v>Q4</c:v>
                </c:pt>
                <c:pt idx="8">
                  <c:v>Q1</c:v>
                </c:pt>
                <c:pt idx="9">
                  <c:v>Q2</c:v>
                </c:pt>
                <c:pt idx="10">
                  <c:v>Q3</c:v>
                </c:pt>
                <c:pt idx="11">
                  <c:v>Q4</c:v>
                </c:pt>
                <c:pt idx="12">
                  <c:v>Q1</c:v>
                </c:pt>
                <c:pt idx="13">
                  <c:v>Q2</c:v>
                </c:pt>
                <c:pt idx="14">
                  <c:v>Q3</c:v>
                </c:pt>
                <c:pt idx="15">
                  <c:v>Q4</c:v>
                </c:pt>
                <c:pt idx="16">
                  <c:v>Q1</c:v>
                </c:pt>
                <c:pt idx="17">
                  <c:v>Q2</c:v>
                </c:pt>
                <c:pt idx="18">
                  <c:v>Q3</c:v>
                </c:pt>
                <c:pt idx="19">
                  <c:v>Q4</c:v>
                </c:pt>
                <c:pt idx="20">
                  <c:v>Q1</c:v>
                </c:pt>
                <c:pt idx="21">
                  <c:v>Q2</c:v>
                </c:pt>
                <c:pt idx="22">
                  <c:v>Q3</c:v>
                </c:pt>
                <c:pt idx="23">
                  <c:v>Q4</c:v>
                </c:pt>
                <c:pt idx="24">
                  <c:v>Q1</c:v>
                </c:pt>
                <c:pt idx="25">
                  <c:v>Q2</c:v>
                </c:pt>
                <c:pt idx="26">
                  <c:v>Q3</c:v>
                </c:pt>
                <c:pt idx="27">
                  <c:v>Q4</c:v>
                </c:pt>
                <c:pt idx="28">
                  <c:v>Q1</c:v>
                </c:pt>
                <c:pt idx="29">
                  <c:v>Q2</c:v>
                </c:pt>
                <c:pt idx="30">
                  <c:v>Q3</c:v>
                </c:pt>
                <c:pt idx="31">
                  <c:v>Q4</c:v>
                </c:pt>
              </c:strCache>
            </c:strRef>
          </c:cat>
          <c:val>
            <c:numRef>
              <c:f>Sheet1!$C$2:$C$33</c:f>
              <c:numCache>
                <c:formatCode>0.0</c:formatCode>
                <c:ptCount val="32"/>
                <c:pt idx="0">
                  <c:v>-0.55003377400365139</c:v>
                </c:pt>
                <c:pt idx="1">
                  <c:v>0.78594993207840957</c:v>
                </c:pt>
                <c:pt idx="2">
                  <c:v>-0.65466448445172887</c:v>
                </c:pt>
                <c:pt idx="3">
                  <c:v>0.44577962980909547</c:v>
                </c:pt>
                <c:pt idx="4">
                  <c:v>0.65605402797876877</c:v>
                </c:pt>
                <c:pt idx="5">
                  <c:v>5.7509824595044279E-2</c:v>
                </c:pt>
                <c:pt idx="6">
                  <c:v>0.38317846537026412</c:v>
                </c:pt>
                <c:pt idx="7">
                  <c:v>-0.33400133600535753</c:v>
                </c:pt>
                <c:pt idx="8">
                  <c:v>-2.0298736116430547</c:v>
                </c:pt>
                <c:pt idx="9">
                  <c:v>-8.8741204065676271</c:v>
                </c:pt>
                <c:pt idx="10">
                  <c:v>8.6765336765336656</c:v>
                </c:pt>
                <c:pt idx="11">
                  <c:v>0.96713707687752049</c:v>
                </c:pt>
                <c:pt idx="12">
                  <c:v>-0.61577558400938415</c:v>
                </c:pt>
                <c:pt idx="13">
                  <c:v>2.3505114083398837</c:v>
                </c:pt>
                <c:pt idx="14">
                  <c:v>8.6480253675418339E-2</c:v>
                </c:pt>
                <c:pt idx="15">
                  <c:v>0.53763440860214473</c:v>
                </c:pt>
                <c:pt idx="16">
                  <c:v>0.67799847211614406</c:v>
                </c:pt>
                <c:pt idx="17">
                  <c:v>0.15175946125391704</c:v>
                </c:pt>
                <c:pt idx="18">
                  <c:v>0.29358840799318386</c:v>
                </c:pt>
                <c:pt idx="19">
                  <c:v>-0.34938621340887721</c:v>
                </c:pt>
                <c:pt idx="20">
                  <c:v>-0.47379891973847066</c:v>
                </c:pt>
                <c:pt idx="21">
                  <c:v>-7.6168713700837998E-2</c:v>
                </c:pt>
                <c:pt idx="22">
                  <c:v>0</c:v>
                </c:pt>
                <c:pt idx="23">
                  <c:v>-0.27632205812292909</c:v>
                </c:pt>
                <c:pt idx="24">
                  <c:v>-0.10510223581118794</c:v>
                </c:pt>
                <c:pt idx="25">
                  <c:v>-0.25824964131993511</c:v>
                </c:pt>
                <c:pt idx="26">
                  <c:v>1.9179133103193635E-2</c:v>
                </c:pt>
                <c:pt idx="27">
                  <c:v>0.18216682646212234</c:v>
                </c:pt>
                <c:pt idx="28">
                  <c:v>0.30624940185663263</c:v>
                </c:pt>
                <c:pt idx="29">
                  <c:v>-0.2</c:v>
                </c:pt>
                <c:pt idx="3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8055-4E38-935F-6F545F92BFB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2027264"/>
        <c:axId val="192057728"/>
      </c:lineChart>
      <c:dateAx>
        <c:axId val="192027264"/>
        <c:scaling>
          <c:orientation val="minMax"/>
        </c:scaling>
        <c:delete val="0"/>
        <c:axPos val="b"/>
        <c:majorGridlines>
          <c:spPr>
            <a:ln w="9525">
              <a:solidFill>
                <a:srgbClr val="B5C0C9"/>
              </a:solidFill>
            </a:ln>
          </c:spPr>
        </c:majorGridlines>
        <c:numFmt formatCode="General" sourceLinked="1"/>
        <c:majorTickMark val="none"/>
        <c:minorTickMark val="none"/>
        <c:tickLblPos val="low"/>
        <c:spPr>
          <a:ln w="12700">
            <a:solidFill>
              <a:srgbClr val="B5C0C9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endParaRPr lang="de-DE"/>
          </a:p>
        </c:txPr>
        <c:crossAx val="192057728"/>
        <c:crosses val="autoZero"/>
        <c:auto val="0"/>
        <c:lblOffset val="100"/>
        <c:baseTimeUnit val="days"/>
        <c:majorUnit val="1"/>
        <c:minorUnit val="4"/>
      </c:dateAx>
      <c:valAx>
        <c:axId val="192057728"/>
        <c:scaling>
          <c:orientation val="minMax"/>
        </c:scaling>
        <c:delete val="0"/>
        <c:axPos val="l"/>
        <c:majorGridlines>
          <c:spPr>
            <a:ln w="9525">
              <a:solidFill>
                <a:srgbClr val="B5C0C9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400"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r>
                  <a:rPr lang="de-DE" sz="1400">
                    <a:latin typeface="Calibri" panose="020F0502020204030204" pitchFamily="34" charset="0"/>
                    <a:cs typeface="Calibri" panose="020F0502020204030204" pitchFamily="34" charset="0"/>
                  </a:rPr>
                  <a:t>in %</a:t>
                </a:r>
              </a:p>
            </c:rich>
          </c:tx>
          <c:overlay val="0"/>
        </c:title>
        <c:numFmt formatCode="0" sourceLinked="0"/>
        <c:majorTickMark val="none"/>
        <c:minorTickMark val="none"/>
        <c:tickLblPos val="nextTo"/>
        <c:spPr>
          <a:ln w="9525">
            <a:solidFill>
              <a:srgbClr val="B5C0C9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endParaRPr lang="de-DE"/>
          </a:p>
        </c:txPr>
        <c:crossAx val="192027264"/>
        <c:crosses val="autoZero"/>
        <c:crossBetween val="between"/>
      </c:valAx>
      <c:spPr>
        <a:noFill/>
        <a:ln w="26832">
          <a:noFill/>
        </a:ln>
      </c:spPr>
    </c:plotArea>
    <c:legend>
      <c:legendPos val="b"/>
      <c:layout>
        <c:manualLayout>
          <c:xMode val="edge"/>
          <c:yMode val="edge"/>
          <c:x val="0"/>
          <c:y val="0.8635558357047789"/>
          <c:w val="0.99956320991858316"/>
          <c:h val="9.7640894343000911E-2"/>
        </c:manualLayout>
      </c:layout>
      <c:overlay val="0"/>
      <c:spPr>
        <a:noFill/>
        <a:ln w="26832">
          <a:noFill/>
        </a:ln>
      </c:spPr>
      <c:txPr>
        <a:bodyPr/>
        <a:lstStyle/>
        <a:p>
          <a:pPr>
            <a:defRPr sz="1100" b="0" i="0" u="none" strike="noStrike" baseline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05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 b="1">
                <a:latin typeface="+mj-lt"/>
              </a:defRPr>
            </a:pPr>
            <a:r>
              <a:rPr lang="de-DE" sz="1400" b="1" dirty="0">
                <a:latin typeface="+mj-lt"/>
              </a:rPr>
              <a:t>Haushalte</a:t>
            </a:r>
          </a:p>
        </c:rich>
      </c:tx>
      <c:layout>
        <c:manualLayout>
          <c:xMode val="edge"/>
          <c:yMode val="edge"/>
          <c:x val="8.7911687973366903E-2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5.6713928273561413E-2"/>
          <c:y val="8.3239141736390632E-2"/>
          <c:w val="0.92249773240405364"/>
          <c:h val="0.64458991143627264"/>
        </c:manualLayout>
      </c:layout>
      <c:lineChart>
        <c:grouping val="standard"/>
        <c:varyColors val="0"/>
        <c:ser>
          <c:idx val="6"/>
          <c:order val="0"/>
          <c:tx>
            <c:strRef>
              <c:f>Sheet1!$B$2</c:f>
              <c:strCache>
                <c:ptCount val="1"/>
                <c:pt idx="0">
                  <c:v>Strom</c:v>
                </c:pt>
              </c:strCache>
            </c:strRef>
          </c:tx>
          <c:spPr>
            <a:ln w="19050">
              <a:solidFill>
                <a:srgbClr val="FF7F24"/>
              </a:solidFill>
              <a:prstDash val="solid"/>
            </a:ln>
          </c:spPr>
          <c:marker>
            <c:symbol val="none"/>
          </c:marker>
          <c:cat>
            <c:numRef>
              <c:f>Sheet1!$A$3:$A$182</c:f>
              <c:numCache>
                <c:formatCode>mm\/yy</c:formatCode>
                <c:ptCount val="180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  <c:pt idx="104">
                  <c:v>45170</c:v>
                </c:pt>
                <c:pt idx="105">
                  <c:v>45200</c:v>
                </c:pt>
                <c:pt idx="106">
                  <c:v>45231</c:v>
                </c:pt>
                <c:pt idx="107">
                  <c:v>45261</c:v>
                </c:pt>
                <c:pt idx="108">
                  <c:v>45292</c:v>
                </c:pt>
                <c:pt idx="109">
                  <c:v>45323</c:v>
                </c:pt>
                <c:pt idx="110">
                  <c:v>45352</c:v>
                </c:pt>
                <c:pt idx="111">
                  <c:v>45383</c:v>
                </c:pt>
                <c:pt idx="112">
                  <c:v>45413</c:v>
                </c:pt>
                <c:pt idx="113">
                  <c:v>45444</c:v>
                </c:pt>
                <c:pt idx="114">
                  <c:v>45474</c:v>
                </c:pt>
                <c:pt idx="115">
                  <c:v>45505</c:v>
                </c:pt>
                <c:pt idx="116">
                  <c:v>45536</c:v>
                </c:pt>
                <c:pt idx="117">
                  <c:v>45566</c:v>
                </c:pt>
                <c:pt idx="118">
                  <c:v>45597</c:v>
                </c:pt>
                <c:pt idx="119">
                  <c:v>45627</c:v>
                </c:pt>
                <c:pt idx="120">
                  <c:v>45658</c:v>
                </c:pt>
                <c:pt idx="121">
                  <c:v>45689</c:v>
                </c:pt>
                <c:pt idx="122">
                  <c:v>45717</c:v>
                </c:pt>
                <c:pt idx="123">
                  <c:v>45748</c:v>
                </c:pt>
                <c:pt idx="124">
                  <c:v>45778</c:v>
                </c:pt>
                <c:pt idx="125">
                  <c:v>45809</c:v>
                </c:pt>
                <c:pt idx="126">
                  <c:v>45839</c:v>
                </c:pt>
                <c:pt idx="127">
                  <c:v>45870</c:v>
                </c:pt>
                <c:pt idx="128">
                  <c:v>45901</c:v>
                </c:pt>
              </c:numCache>
            </c:numRef>
          </c:cat>
          <c:val>
            <c:numRef>
              <c:f>Sheet1!$B$3:$B$182</c:f>
              <c:numCache>
                <c:formatCode>General</c:formatCode>
                <c:ptCount val="180"/>
                <c:pt idx="0">
                  <c:v>87.1</c:v>
                </c:pt>
                <c:pt idx="1">
                  <c:v>87.1</c:v>
                </c:pt>
                <c:pt idx="2">
                  <c:v>87</c:v>
                </c:pt>
                <c:pt idx="3">
                  <c:v>86.8</c:v>
                </c:pt>
                <c:pt idx="4">
                  <c:v>86.8</c:v>
                </c:pt>
                <c:pt idx="5">
                  <c:v>86.8</c:v>
                </c:pt>
                <c:pt idx="6">
                  <c:v>86.8</c:v>
                </c:pt>
                <c:pt idx="7">
                  <c:v>86.8</c:v>
                </c:pt>
                <c:pt idx="8">
                  <c:v>86.8</c:v>
                </c:pt>
                <c:pt idx="9">
                  <c:v>86.8</c:v>
                </c:pt>
                <c:pt idx="10">
                  <c:v>86.8</c:v>
                </c:pt>
                <c:pt idx="11">
                  <c:v>86.8</c:v>
                </c:pt>
                <c:pt idx="12">
                  <c:v>87</c:v>
                </c:pt>
                <c:pt idx="13">
                  <c:v>87.1</c:v>
                </c:pt>
                <c:pt idx="14">
                  <c:v>87</c:v>
                </c:pt>
                <c:pt idx="15">
                  <c:v>87.7</c:v>
                </c:pt>
                <c:pt idx="16">
                  <c:v>87.7</c:v>
                </c:pt>
                <c:pt idx="17">
                  <c:v>87.7</c:v>
                </c:pt>
                <c:pt idx="18">
                  <c:v>87.8</c:v>
                </c:pt>
                <c:pt idx="19">
                  <c:v>87.8</c:v>
                </c:pt>
                <c:pt idx="20">
                  <c:v>87.7</c:v>
                </c:pt>
                <c:pt idx="21">
                  <c:v>87.8</c:v>
                </c:pt>
                <c:pt idx="22">
                  <c:v>87.8</c:v>
                </c:pt>
                <c:pt idx="23">
                  <c:v>87.8</c:v>
                </c:pt>
                <c:pt idx="24">
                  <c:v>88.5</c:v>
                </c:pt>
                <c:pt idx="25">
                  <c:v>88.9</c:v>
                </c:pt>
                <c:pt idx="26">
                  <c:v>88.9</c:v>
                </c:pt>
                <c:pt idx="27">
                  <c:v>89.4</c:v>
                </c:pt>
                <c:pt idx="28">
                  <c:v>89.4</c:v>
                </c:pt>
                <c:pt idx="29">
                  <c:v>89.9</c:v>
                </c:pt>
                <c:pt idx="30">
                  <c:v>89.9</c:v>
                </c:pt>
                <c:pt idx="31">
                  <c:v>89.9</c:v>
                </c:pt>
                <c:pt idx="32">
                  <c:v>90</c:v>
                </c:pt>
                <c:pt idx="33">
                  <c:v>90</c:v>
                </c:pt>
                <c:pt idx="34">
                  <c:v>90</c:v>
                </c:pt>
                <c:pt idx="35">
                  <c:v>90</c:v>
                </c:pt>
                <c:pt idx="36">
                  <c:v>89.8</c:v>
                </c:pt>
                <c:pt idx="37">
                  <c:v>89.8</c:v>
                </c:pt>
                <c:pt idx="38">
                  <c:v>89.9</c:v>
                </c:pt>
                <c:pt idx="39">
                  <c:v>89.9</c:v>
                </c:pt>
                <c:pt idx="40">
                  <c:v>89.5</c:v>
                </c:pt>
                <c:pt idx="41">
                  <c:v>89.5</c:v>
                </c:pt>
                <c:pt idx="42">
                  <c:v>89.5</c:v>
                </c:pt>
                <c:pt idx="43">
                  <c:v>89.5</c:v>
                </c:pt>
                <c:pt idx="44">
                  <c:v>89.5</c:v>
                </c:pt>
                <c:pt idx="45">
                  <c:v>89.5</c:v>
                </c:pt>
                <c:pt idx="46">
                  <c:v>89.5</c:v>
                </c:pt>
                <c:pt idx="47">
                  <c:v>89.5</c:v>
                </c:pt>
                <c:pt idx="48">
                  <c:v>90.8</c:v>
                </c:pt>
                <c:pt idx="49">
                  <c:v>91.3</c:v>
                </c:pt>
                <c:pt idx="50">
                  <c:v>91.6</c:v>
                </c:pt>
                <c:pt idx="51">
                  <c:v>92.4</c:v>
                </c:pt>
                <c:pt idx="52">
                  <c:v>92.5</c:v>
                </c:pt>
                <c:pt idx="53">
                  <c:v>92.6</c:v>
                </c:pt>
                <c:pt idx="54">
                  <c:v>92.6</c:v>
                </c:pt>
                <c:pt idx="55">
                  <c:v>92.9</c:v>
                </c:pt>
                <c:pt idx="56">
                  <c:v>92.9</c:v>
                </c:pt>
                <c:pt idx="57">
                  <c:v>92.9</c:v>
                </c:pt>
                <c:pt idx="58">
                  <c:v>92.9</c:v>
                </c:pt>
                <c:pt idx="59">
                  <c:v>93</c:v>
                </c:pt>
                <c:pt idx="60">
                  <c:v>95.5</c:v>
                </c:pt>
                <c:pt idx="61">
                  <c:v>96.2</c:v>
                </c:pt>
                <c:pt idx="62">
                  <c:v>97.5</c:v>
                </c:pt>
                <c:pt idx="63">
                  <c:v>98.5</c:v>
                </c:pt>
                <c:pt idx="64">
                  <c:v>99</c:v>
                </c:pt>
                <c:pt idx="65">
                  <c:v>99</c:v>
                </c:pt>
                <c:pt idx="66">
                  <c:v>98.8</c:v>
                </c:pt>
                <c:pt idx="67">
                  <c:v>98.8</c:v>
                </c:pt>
                <c:pt idx="68">
                  <c:v>98.8</c:v>
                </c:pt>
                <c:pt idx="69">
                  <c:v>98.8</c:v>
                </c:pt>
                <c:pt idx="70">
                  <c:v>98.8</c:v>
                </c:pt>
                <c:pt idx="71">
                  <c:v>99</c:v>
                </c:pt>
                <c:pt idx="72">
                  <c:v>99.1</c:v>
                </c:pt>
                <c:pt idx="73">
                  <c:v>99.2</c:v>
                </c:pt>
                <c:pt idx="74">
                  <c:v>99.4</c:v>
                </c:pt>
                <c:pt idx="75">
                  <c:v>99.4</c:v>
                </c:pt>
                <c:pt idx="76">
                  <c:v>99.4</c:v>
                </c:pt>
                <c:pt idx="77">
                  <c:v>99.6</c:v>
                </c:pt>
                <c:pt idx="78">
                  <c:v>99.5</c:v>
                </c:pt>
                <c:pt idx="79">
                  <c:v>100.2</c:v>
                </c:pt>
                <c:pt idx="80">
                  <c:v>100.5</c:v>
                </c:pt>
                <c:pt idx="81">
                  <c:v>100.6</c:v>
                </c:pt>
                <c:pt idx="82">
                  <c:v>101.6</c:v>
                </c:pt>
                <c:pt idx="83">
                  <c:v>101.8</c:v>
                </c:pt>
                <c:pt idx="84">
                  <c:v>108.3</c:v>
                </c:pt>
                <c:pt idx="85">
                  <c:v>108.4</c:v>
                </c:pt>
                <c:pt idx="86">
                  <c:v>114.2</c:v>
                </c:pt>
                <c:pt idx="87">
                  <c:v>115.6</c:v>
                </c:pt>
                <c:pt idx="88">
                  <c:v>115.7</c:v>
                </c:pt>
                <c:pt idx="89">
                  <c:v>116.2</c:v>
                </c:pt>
                <c:pt idx="90">
                  <c:v>110.3</c:v>
                </c:pt>
                <c:pt idx="91">
                  <c:v>114.7</c:v>
                </c:pt>
                <c:pt idx="92">
                  <c:v>121.7</c:v>
                </c:pt>
                <c:pt idx="93">
                  <c:v>126.3</c:v>
                </c:pt>
                <c:pt idx="94">
                  <c:v>127</c:v>
                </c:pt>
                <c:pt idx="95">
                  <c:v>125.4</c:v>
                </c:pt>
                <c:pt idx="96">
                  <c:v>142.19999999999999</c:v>
                </c:pt>
                <c:pt idx="97">
                  <c:v>141.4</c:v>
                </c:pt>
                <c:pt idx="98">
                  <c:v>140</c:v>
                </c:pt>
                <c:pt idx="99">
                  <c:v>137.80000000000001</c:v>
                </c:pt>
                <c:pt idx="100">
                  <c:v>137.6</c:v>
                </c:pt>
                <c:pt idx="101">
                  <c:v>134.6</c:v>
                </c:pt>
                <c:pt idx="102">
                  <c:v>133.1</c:v>
                </c:pt>
                <c:pt idx="103">
                  <c:v>133.6</c:v>
                </c:pt>
                <c:pt idx="104">
                  <c:v>133.6</c:v>
                </c:pt>
                <c:pt idx="105">
                  <c:v>130.1</c:v>
                </c:pt>
                <c:pt idx="106">
                  <c:v>130</c:v>
                </c:pt>
                <c:pt idx="107">
                  <c:v>129.9</c:v>
                </c:pt>
                <c:pt idx="108">
                  <c:v>130.30000000000001</c:v>
                </c:pt>
                <c:pt idx="109">
                  <c:v>129.5</c:v>
                </c:pt>
                <c:pt idx="110">
                  <c:v>129.1</c:v>
                </c:pt>
                <c:pt idx="111">
                  <c:v>130</c:v>
                </c:pt>
                <c:pt idx="112">
                  <c:v>130.4</c:v>
                </c:pt>
                <c:pt idx="113">
                  <c:v>130.19999999999999</c:v>
                </c:pt>
                <c:pt idx="114">
                  <c:v>130.1</c:v>
                </c:pt>
                <c:pt idx="115">
                  <c:v>130.1</c:v>
                </c:pt>
                <c:pt idx="116">
                  <c:v>130.4</c:v>
                </c:pt>
                <c:pt idx="117">
                  <c:v>129.9</c:v>
                </c:pt>
                <c:pt idx="118">
                  <c:v>130.19999999999999</c:v>
                </c:pt>
                <c:pt idx="119">
                  <c:v>130.4</c:v>
                </c:pt>
                <c:pt idx="120">
                  <c:v>126.8</c:v>
                </c:pt>
                <c:pt idx="121" formatCode="#,##0.0">
                  <c:v>127.6</c:v>
                </c:pt>
                <c:pt idx="122" formatCode="#,##0.0">
                  <c:v>127.4</c:v>
                </c:pt>
                <c:pt idx="123" formatCode="#,##0.0">
                  <c:v>127.8</c:v>
                </c:pt>
                <c:pt idx="124" formatCode="#,##0.0">
                  <c:v>127.6</c:v>
                </c:pt>
                <c:pt idx="125" formatCode="#,##0.0">
                  <c:v>127.6</c:v>
                </c:pt>
                <c:pt idx="126" formatCode="#,##0.0">
                  <c:v>128</c:v>
                </c:pt>
                <c:pt idx="127" formatCode="#,##0.0">
                  <c:v>127.4</c:v>
                </c:pt>
                <c:pt idx="128" formatCode="#,##0.0">
                  <c:v>127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245-49E1-9510-1A506CB4AEE7}"/>
            </c:ext>
          </c:extLst>
        </c:ser>
        <c:ser>
          <c:idx val="4"/>
          <c:order val="1"/>
          <c:tx>
            <c:strRef>
              <c:f>Sheet1!$C$2</c:f>
              <c:strCache>
                <c:ptCount val="1"/>
                <c:pt idx="0">
                  <c:v>Erdgas</c:v>
                </c:pt>
              </c:strCache>
            </c:strRef>
          </c:tx>
          <c:spPr>
            <a:ln w="19050">
              <a:solidFill>
                <a:srgbClr val="46AA28"/>
              </a:solidFill>
              <a:prstDash val="solid"/>
            </a:ln>
          </c:spPr>
          <c:marker>
            <c:symbol val="none"/>
          </c:marker>
          <c:cat>
            <c:numRef>
              <c:f>Sheet1!$A$3:$A$182</c:f>
              <c:numCache>
                <c:formatCode>mm\/yy</c:formatCode>
                <c:ptCount val="180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  <c:pt idx="104">
                  <c:v>45170</c:v>
                </c:pt>
                <c:pt idx="105">
                  <c:v>45200</c:v>
                </c:pt>
                <c:pt idx="106">
                  <c:v>45231</c:v>
                </c:pt>
                <c:pt idx="107">
                  <c:v>45261</c:v>
                </c:pt>
                <c:pt idx="108">
                  <c:v>45292</c:v>
                </c:pt>
                <c:pt idx="109">
                  <c:v>45323</c:v>
                </c:pt>
                <c:pt idx="110">
                  <c:v>45352</c:v>
                </c:pt>
                <c:pt idx="111">
                  <c:v>45383</c:v>
                </c:pt>
                <c:pt idx="112">
                  <c:v>45413</c:v>
                </c:pt>
                <c:pt idx="113">
                  <c:v>45444</c:v>
                </c:pt>
                <c:pt idx="114">
                  <c:v>45474</c:v>
                </c:pt>
                <c:pt idx="115">
                  <c:v>45505</c:v>
                </c:pt>
                <c:pt idx="116">
                  <c:v>45536</c:v>
                </c:pt>
                <c:pt idx="117">
                  <c:v>45566</c:v>
                </c:pt>
                <c:pt idx="118">
                  <c:v>45597</c:v>
                </c:pt>
                <c:pt idx="119">
                  <c:v>45627</c:v>
                </c:pt>
                <c:pt idx="120">
                  <c:v>45658</c:v>
                </c:pt>
                <c:pt idx="121">
                  <c:v>45689</c:v>
                </c:pt>
                <c:pt idx="122">
                  <c:v>45717</c:v>
                </c:pt>
                <c:pt idx="123">
                  <c:v>45748</c:v>
                </c:pt>
                <c:pt idx="124">
                  <c:v>45778</c:v>
                </c:pt>
                <c:pt idx="125">
                  <c:v>45809</c:v>
                </c:pt>
                <c:pt idx="126">
                  <c:v>45839</c:v>
                </c:pt>
                <c:pt idx="127">
                  <c:v>45870</c:v>
                </c:pt>
                <c:pt idx="128">
                  <c:v>45901</c:v>
                </c:pt>
              </c:numCache>
            </c:numRef>
          </c:cat>
          <c:val>
            <c:numRef>
              <c:f>Sheet1!$C$3:$C$182</c:f>
              <c:numCache>
                <c:formatCode>General</c:formatCode>
                <c:ptCount val="180"/>
                <c:pt idx="0">
                  <c:v>99.4</c:v>
                </c:pt>
                <c:pt idx="1">
                  <c:v>99.4</c:v>
                </c:pt>
                <c:pt idx="2">
                  <c:v>99.3</c:v>
                </c:pt>
                <c:pt idx="3">
                  <c:v>99.2</c:v>
                </c:pt>
                <c:pt idx="4">
                  <c:v>99.1</c:v>
                </c:pt>
                <c:pt idx="5">
                  <c:v>99.1</c:v>
                </c:pt>
                <c:pt idx="6">
                  <c:v>98.9</c:v>
                </c:pt>
                <c:pt idx="7">
                  <c:v>98.9</c:v>
                </c:pt>
                <c:pt idx="8">
                  <c:v>98.8</c:v>
                </c:pt>
                <c:pt idx="9">
                  <c:v>98.7</c:v>
                </c:pt>
                <c:pt idx="10">
                  <c:v>98.7</c:v>
                </c:pt>
                <c:pt idx="11">
                  <c:v>98.5</c:v>
                </c:pt>
                <c:pt idx="12">
                  <c:v>97.3</c:v>
                </c:pt>
                <c:pt idx="13">
                  <c:v>97.1</c:v>
                </c:pt>
                <c:pt idx="14">
                  <c:v>97.1</c:v>
                </c:pt>
                <c:pt idx="15">
                  <c:v>96.8</c:v>
                </c:pt>
                <c:pt idx="16">
                  <c:v>96.7</c:v>
                </c:pt>
                <c:pt idx="17">
                  <c:v>96.5</c:v>
                </c:pt>
                <c:pt idx="18">
                  <c:v>96.1</c:v>
                </c:pt>
                <c:pt idx="19">
                  <c:v>95.9</c:v>
                </c:pt>
                <c:pt idx="20">
                  <c:v>95.6</c:v>
                </c:pt>
                <c:pt idx="21">
                  <c:v>94.8</c:v>
                </c:pt>
                <c:pt idx="22">
                  <c:v>94.6</c:v>
                </c:pt>
                <c:pt idx="23">
                  <c:v>95.6</c:v>
                </c:pt>
                <c:pt idx="24">
                  <c:v>93.6</c:v>
                </c:pt>
                <c:pt idx="25">
                  <c:v>93.4</c:v>
                </c:pt>
                <c:pt idx="26">
                  <c:v>93.3</c:v>
                </c:pt>
                <c:pt idx="27">
                  <c:v>93.1</c:v>
                </c:pt>
                <c:pt idx="28">
                  <c:v>93</c:v>
                </c:pt>
                <c:pt idx="29">
                  <c:v>93</c:v>
                </c:pt>
                <c:pt idx="30">
                  <c:v>92.9</c:v>
                </c:pt>
                <c:pt idx="31">
                  <c:v>92.9</c:v>
                </c:pt>
                <c:pt idx="32">
                  <c:v>92.9</c:v>
                </c:pt>
                <c:pt idx="33">
                  <c:v>92.9</c:v>
                </c:pt>
                <c:pt idx="34">
                  <c:v>92.9</c:v>
                </c:pt>
                <c:pt idx="35">
                  <c:v>92.9</c:v>
                </c:pt>
                <c:pt idx="36">
                  <c:v>92.1</c:v>
                </c:pt>
                <c:pt idx="37">
                  <c:v>92</c:v>
                </c:pt>
                <c:pt idx="38">
                  <c:v>92</c:v>
                </c:pt>
                <c:pt idx="39">
                  <c:v>92</c:v>
                </c:pt>
                <c:pt idx="40">
                  <c:v>92</c:v>
                </c:pt>
                <c:pt idx="41">
                  <c:v>91.3</c:v>
                </c:pt>
                <c:pt idx="42">
                  <c:v>91.2</c:v>
                </c:pt>
                <c:pt idx="43">
                  <c:v>91.1</c:v>
                </c:pt>
                <c:pt idx="44">
                  <c:v>91.1</c:v>
                </c:pt>
                <c:pt idx="45">
                  <c:v>91.2</c:v>
                </c:pt>
                <c:pt idx="46">
                  <c:v>91.3</c:v>
                </c:pt>
                <c:pt idx="47">
                  <c:v>91.5</c:v>
                </c:pt>
                <c:pt idx="48">
                  <c:v>94</c:v>
                </c:pt>
                <c:pt idx="49">
                  <c:v>94.2</c:v>
                </c:pt>
                <c:pt idx="50">
                  <c:v>94.4</c:v>
                </c:pt>
                <c:pt idx="51">
                  <c:v>94.9</c:v>
                </c:pt>
                <c:pt idx="52">
                  <c:v>95</c:v>
                </c:pt>
                <c:pt idx="53">
                  <c:v>95.1</c:v>
                </c:pt>
                <c:pt idx="54">
                  <c:v>95.3</c:v>
                </c:pt>
                <c:pt idx="55">
                  <c:v>95.4</c:v>
                </c:pt>
                <c:pt idx="56">
                  <c:v>95.5</c:v>
                </c:pt>
                <c:pt idx="57">
                  <c:v>95.9</c:v>
                </c:pt>
                <c:pt idx="58">
                  <c:v>96</c:v>
                </c:pt>
                <c:pt idx="59">
                  <c:v>96.2</c:v>
                </c:pt>
                <c:pt idx="60">
                  <c:v>96.4</c:v>
                </c:pt>
                <c:pt idx="61">
                  <c:v>96.5</c:v>
                </c:pt>
                <c:pt idx="62">
                  <c:v>96.6</c:v>
                </c:pt>
                <c:pt idx="63">
                  <c:v>96.6</c:v>
                </c:pt>
                <c:pt idx="64">
                  <c:v>96.6</c:v>
                </c:pt>
                <c:pt idx="65">
                  <c:v>96.5</c:v>
                </c:pt>
                <c:pt idx="66">
                  <c:v>97</c:v>
                </c:pt>
                <c:pt idx="67">
                  <c:v>97.2</c:v>
                </c:pt>
                <c:pt idx="68">
                  <c:v>97</c:v>
                </c:pt>
                <c:pt idx="69">
                  <c:v>97</c:v>
                </c:pt>
                <c:pt idx="70">
                  <c:v>96.7</c:v>
                </c:pt>
                <c:pt idx="71">
                  <c:v>96.8</c:v>
                </c:pt>
                <c:pt idx="72">
                  <c:v>98.3</c:v>
                </c:pt>
                <c:pt idx="73">
                  <c:v>98.5</c:v>
                </c:pt>
                <c:pt idx="74">
                  <c:v>98.7</c:v>
                </c:pt>
                <c:pt idx="75">
                  <c:v>98.6</c:v>
                </c:pt>
                <c:pt idx="76">
                  <c:v>98.7</c:v>
                </c:pt>
                <c:pt idx="77">
                  <c:v>98.8</c:v>
                </c:pt>
                <c:pt idx="78">
                  <c:v>99</c:v>
                </c:pt>
                <c:pt idx="79">
                  <c:v>99.4</c:v>
                </c:pt>
                <c:pt idx="80">
                  <c:v>99.9</c:v>
                </c:pt>
                <c:pt idx="81">
                  <c:v>101.4</c:v>
                </c:pt>
                <c:pt idx="82">
                  <c:v>103.2</c:v>
                </c:pt>
                <c:pt idx="83">
                  <c:v>105.7</c:v>
                </c:pt>
                <c:pt idx="84">
                  <c:v>129.80000000000001</c:v>
                </c:pt>
                <c:pt idx="85">
                  <c:v>133.6</c:v>
                </c:pt>
                <c:pt idx="86">
                  <c:v>139.9</c:v>
                </c:pt>
                <c:pt idx="87">
                  <c:v>145.4</c:v>
                </c:pt>
                <c:pt idx="88">
                  <c:v>153.1</c:v>
                </c:pt>
                <c:pt idx="89">
                  <c:v>158.6</c:v>
                </c:pt>
                <c:pt idx="90">
                  <c:v>173.3</c:v>
                </c:pt>
                <c:pt idx="91">
                  <c:v>182.6</c:v>
                </c:pt>
                <c:pt idx="92">
                  <c:v>194.9</c:v>
                </c:pt>
                <c:pt idx="93">
                  <c:v>236.7</c:v>
                </c:pt>
                <c:pt idx="94">
                  <c:v>243.7</c:v>
                </c:pt>
                <c:pt idx="95">
                  <c:v>247.2</c:v>
                </c:pt>
                <c:pt idx="96">
                  <c:v>216.7</c:v>
                </c:pt>
                <c:pt idx="97">
                  <c:v>218</c:v>
                </c:pt>
                <c:pt idx="98">
                  <c:v>219.6</c:v>
                </c:pt>
                <c:pt idx="99">
                  <c:v>218.8</c:v>
                </c:pt>
                <c:pt idx="100">
                  <c:v>217.3</c:v>
                </c:pt>
                <c:pt idx="101">
                  <c:v>215.2</c:v>
                </c:pt>
                <c:pt idx="102">
                  <c:v>213</c:v>
                </c:pt>
                <c:pt idx="103">
                  <c:v>211.6</c:v>
                </c:pt>
                <c:pt idx="104">
                  <c:v>209.1</c:v>
                </c:pt>
                <c:pt idx="105">
                  <c:v>206.4</c:v>
                </c:pt>
                <c:pt idx="106">
                  <c:v>200.2</c:v>
                </c:pt>
                <c:pt idx="107">
                  <c:v>198.8</c:v>
                </c:pt>
                <c:pt idx="108">
                  <c:v>203.3</c:v>
                </c:pt>
                <c:pt idx="109">
                  <c:v>201.6</c:v>
                </c:pt>
                <c:pt idx="110">
                  <c:v>199.3</c:v>
                </c:pt>
                <c:pt idx="111">
                  <c:v>186.2</c:v>
                </c:pt>
                <c:pt idx="112">
                  <c:v>185.4</c:v>
                </c:pt>
                <c:pt idx="113">
                  <c:v>185.3</c:v>
                </c:pt>
                <c:pt idx="114">
                  <c:v>185.2</c:v>
                </c:pt>
                <c:pt idx="115">
                  <c:v>184.4</c:v>
                </c:pt>
                <c:pt idx="116">
                  <c:v>184.5</c:v>
                </c:pt>
                <c:pt idx="117">
                  <c:v>184.1</c:v>
                </c:pt>
                <c:pt idx="118">
                  <c:v>184.6</c:v>
                </c:pt>
                <c:pt idx="119">
                  <c:v>185.6</c:v>
                </c:pt>
                <c:pt idx="120">
                  <c:v>183.8</c:v>
                </c:pt>
                <c:pt idx="121" formatCode="#,##0.0">
                  <c:v>184.9</c:v>
                </c:pt>
                <c:pt idx="122" formatCode="#,##0.0">
                  <c:v>185.5</c:v>
                </c:pt>
                <c:pt idx="123" formatCode="#,##0.0">
                  <c:v>185.9</c:v>
                </c:pt>
                <c:pt idx="124" formatCode="#,##0.0">
                  <c:v>185.3</c:v>
                </c:pt>
                <c:pt idx="125" formatCode="#,##0.0">
                  <c:v>185.4</c:v>
                </c:pt>
                <c:pt idx="126" formatCode="#,##0.0">
                  <c:v>185.6</c:v>
                </c:pt>
                <c:pt idx="127" formatCode="#,##0.0">
                  <c:v>185.7</c:v>
                </c:pt>
                <c:pt idx="128" formatCode="#,##0.0">
                  <c:v>185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245-49E1-9510-1A506CB4AEE7}"/>
            </c:ext>
          </c:extLst>
        </c:ser>
        <c:ser>
          <c:idx val="0"/>
          <c:order val="2"/>
          <c:tx>
            <c:strRef>
              <c:f>Sheet1!$D$2</c:f>
              <c:strCache>
                <c:ptCount val="1"/>
                <c:pt idx="0">
                  <c:v>Fernwärme</c:v>
                </c:pt>
              </c:strCache>
            </c:strRef>
          </c:tx>
          <c:spPr>
            <a:ln w="19050">
              <a:solidFill>
                <a:srgbClr val="7B0B6D"/>
              </a:solidFill>
              <a:prstDash val="solid"/>
            </a:ln>
          </c:spPr>
          <c:marker>
            <c:symbol val="none"/>
          </c:marker>
          <c:cat>
            <c:numRef>
              <c:f>Sheet1!$A$3:$A$182</c:f>
              <c:numCache>
                <c:formatCode>mm\/yy</c:formatCode>
                <c:ptCount val="180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  <c:pt idx="104">
                  <c:v>45170</c:v>
                </c:pt>
                <c:pt idx="105">
                  <c:v>45200</c:v>
                </c:pt>
                <c:pt idx="106">
                  <c:v>45231</c:v>
                </c:pt>
                <c:pt idx="107">
                  <c:v>45261</c:v>
                </c:pt>
                <c:pt idx="108">
                  <c:v>45292</c:v>
                </c:pt>
                <c:pt idx="109">
                  <c:v>45323</c:v>
                </c:pt>
                <c:pt idx="110">
                  <c:v>45352</c:v>
                </c:pt>
                <c:pt idx="111">
                  <c:v>45383</c:v>
                </c:pt>
                <c:pt idx="112">
                  <c:v>45413</c:v>
                </c:pt>
                <c:pt idx="113">
                  <c:v>45444</c:v>
                </c:pt>
                <c:pt idx="114">
                  <c:v>45474</c:v>
                </c:pt>
                <c:pt idx="115">
                  <c:v>45505</c:v>
                </c:pt>
                <c:pt idx="116">
                  <c:v>45536</c:v>
                </c:pt>
                <c:pt idx="117">
                  <c:v>45566</c:v>
                </c:pt>
                <c:pt idx="118">
                  <c:v>45597</c:v>
                </c:pt>
                <c:pt idx="119">
                  <c:v>45627</c:v>
                </c:pt>
                <c:pt idx="120">
                  <c:v>45658</c:v>
                </c:pt>
                <c:pt idx="121">
                  <c:v>45689</c:v>
                </c:pt>
                <c:pt idx="122">
                  <c:v>45717</c:v>
                </c:pt>
                <c:pt idx="123">
                  <c:v>45748</c:v>
                </c:pt>
                <c:pt idx="124">
                  <c:v>45778</c:v>
                </c:pt>
                <c:pt idx="125">
                  <c:v>45809</c:v>
                </c:pt>
                <c:pt idx="126">
                  <c:v>45839</c:v>
                </c:pt>
                <c:pt idx="127">
                  <c:v>45870</c:v>
                </c:pt>
                <c:pt idx="128">
                  <c:v>45901</c:v>
                </c:pt>
              </c:numCache>
            </c:numRef>
          </c:cat>
          <c:val>
            <c:numRef>
              <c:f>Sheet1!$D$3:$D$182</c:f>
              <c:numCache>
                <c:formatCode>General</c:formatCode>
                <c:ptCount val="180"/>
                <c:pt idx="0">
                  <c:v>104.5</c:v>
                </c:pt>
                <c:pt idx="1">
                  <c:v>104.3</c:v>
                </c:pt>
                <c:pt idx="2">
                  <c:v>104.2</c:v>
                </c:pt>
                <c:pt idx="3">
                  <c:v>103.1</c:v>
                </c:pt>
                <c:pt idx="4">
                  <c:v>103.1</c:v>
                </c:pt>
                <c:pt idx="5">
                  <c:v>103.1</c:v>
                </c:pt>
                <c:pt idx="6">
                  <c:v>102.1</c:v>
                </c:pt>
                <c:pt idx="7">
                  <c:v>102.1</c:v>
                </c:pt>
                <c:pt idx="8">
                  <c:v>102.1</c:v>
                </c:pt>
                <c:pt idx="9">
                  <c:v>101.4</c:v>
                </c:pt>
                <c:pt idx="10">
                  <c:v>101.4</c:v>
                </c:pt>
                <c:pt idx="11">
                  <c:v>101.4</c:v>
                </c:pt>
                <c:pt idx="12">
                  <c:v>100</c:v>
                </c:pt>
                <c:pt idx="13">
                  <c:v>99.6</c:v>
                </c:pt>
                <c:pt idx="14">
                  <c:v>99.6</c:v>
                </c:pt>
                <c:pt idx="15">
                  <c:v>97.7</c:v>
                </c:pt>
                <c:pt idx="16">
                  <c:v>97.6</c:v>
                </c:pt>
                <c:pt idx="17">
                  <c:v>97.6</c:v>
                </c:pt>
                <c:pt idx="18">
                  <c:v>96.3</c:v>
                </c:pt>
                <c:pt idx="19">
                  <c:v>95.8</c:v>
                </c:pt>
                <c:pt idx="20">
                  <c:v>95.8</c:v>
                </c:pt>
                <c:pt idx="21">
                  <c:v>94.8</c:v>
                </c:pt>
                <c:pt idx="22">
                  <c:v>94.7</c:v>
                </c:pt>
                <c:pt idx="23">
                  <c:v>94.7</c:v>
                </c:pt>
                <c:pt idx="24">
                  <c:v>93.4</c:v>
                </c:pt>
                <c:pt idx="25">
                  <c:v>93.5</c:v>
                </c:pt>
                <c:pt idx="26">
                  <c:v>93.3</c:v>
                </c:pt>
                <c:pt idx="27">
                  <c:v>93.8</c:v>
                </c:pt>
                <c:pt idx="28">
                  <c:v>93.8</c:v>
                </c:pt>
                <c:pt idx="29">
                  <c:v>93.8</c:v>
                </c:pt>
                <c:pt idx="30">
                  <c:v>94.2</c:v>
                </c:pt>
                <c:pt idx="31">
                  <c:v>94.2</c:v>
                </c:pt>
                <c:pt idx="32">
                  <c:v>94.3</c:v>
                </c:pt>
                <c:pt idx="33">
                  <c:v>94.4</c:v>
                </c:pt>
                <c:pt idx="34">
                  <c:v>94.4</c:v>
                </c:pt>
                <c:pt idx="35">
                  <c:v>94.3</c:v>
                </c:pt>
                <c:pt idx="36">
                  <c:v>94.9</c:v>
                </c:pt>
                <c:pt idx="37">
                  <c:v>94.9</c:v>
                </c:pt>
                <c:pt idx="38">
                  <c:v>94.9</c:v>
                </c:pt>
                <c:pt idx="39">
                  <c:v>95.5</c:v>
                </c:pt>
                <c:pt idx="40">
                  <c:v>95.6</c:v>
                </c:pt>
                <c:pt idx="41">
                  <c:v>95.6</c:v>
                </c:pt>
                <c:pt idx="42">
                  <c:v>96.1</c:v>
                </c:pt>
                <c:pt idx="43">
                  <c:v>96.3</c:v>
                </c:pt>
                <c:pt idx="44">
                  <c:v>96.4</c:v>
                </c:pt>
                <c:pt idx="45">
                  <c:v>97.3</c:v>
                </c:pt>
                <c:pt idx="46">
                  <c:v>97.5</c:v>
                </c:pt>
                <c:pt idx="47">
                  <c:v>97.5</c:v>
                </c:pt>
                <c:pt idx="48">
                  <c:v>99.2</c:v>
                </c:pt>
                <c:pt idx="49">
                  <c:v>99.6</c:v>
                </c:pt>
                <c:pt idx="50">
                  <c:v>99.9</c:v>
                </c:pt>
                <c:pt idx="51">
                  <c:v>100.6</c:v>
                </c:pt>
                <c:pt idx="52">
                  <c:v>100.9</c:v>
                </c:pt>
                <c:pt idx="53">
                  <c:v>101</c:v>
                </c:pt>
                <c:pt idx="54">
                  <c:v>100.8</c:v>
                </c:pt>
                <c:pt idx="55">
                  <c:v>101</c:v>
                </c:pt>
                <c:pt idx="56">
                  <c:v>101</c:v>
                </c:pt>
                <c:pt idx="57">
                  <c:v>100.8</c:v>
                </c:pt>
                <c:pt idx="58">
                  <c:v>100.8</c:v>
                </c:pt>
                <c:pt idx="59">
                  <c:v>100.8</c:v>
                </c:pt>
                <c:pt idx="60">
                  <c:v>100.9</c:v>
                </c:pt>
                <c:pt idx="61">
                  <c:v>100.9</c:v>
                </c:pt>
                <c:pt idx="62">
                  <c:v>101</c:v>
                </c:pt>
                <c:pt idx="63">
                  <c:v>100.6</c:v>
                </c:pt>
                <c:pt idx="64">
                  <c:v>100.5</c:v>
                </c:pt>
                <c:pt idx="65">
                  <c:v>100.5</c:v>
                </c:pt>
                <c:pt idx="66">
                  <c:v>100.2</c:v>
                </c:pt>
                <c:pt idx="67">
                  <c:v>100.1</c:v>
                </c:pt>
                <c:pt idx="68">
                  <c:v>100.1</c:v>
                </c:pt>
                <c:pt idx="69">
                  <c:v>98.8</c:v>
                </c:pt>
                <c:pt idx="70">
                  <c:v>98.6</c:v>
                </c:pt>
                <c:pt idx="71">
                  <c:v>98.9</c:v>
                </c:pt>
                <c:pt idx="72">
                  <c:v>97.8</c:v>
                </c:pt>
                <c:pt idx="73">
                  <c:v>98</c:v>
                </c:pt>
                <c:pt idx="74">
                  <c:v>98.1</c:v>
                </c:pt>
                <c:pt idx="75">
                  <c:v>98.4</c:v>
                </c:pt>
                <c:pt idx="76">
                  <c:v>98.4</c:v>
                </c:pt>
                <c:pt idx="77">
                  <c:v>98.3</c:v>
                </c:pt>
                <c:pt idx="78">
                  <c:v>99.5</c:v>
                </c:pt>
                <c:pt idx="79">
                  <c:v>99.8</c:v>
                </c:pt>
                <c:pt idx="80">
                  <c:v>100.1</c:v>
                </c:pt>
                <c:pt idx="81">
                  <c:v>102.9</c:v>
                </c:pt>
                <c:pt idx="82">
                  <c:v>104.3</c:v>
                </c:pt>
                <c:pt idx="83">
                  <c:v>104.3</c:v>
                </c:pt>
                <c:pt idx="84">
                  <c:v>112.1</c:v>
                </c:pt>
                <c:pt idx="85">
                  <c:v>113.4</c:v>
                </c:pt>
                <c:pt idx="86">
                  <c:v>114.6</c:v>
                </c:pt>
                <c:pt idx="87">
                  <c:v>122.1</c:v>
                </c:pt>
                <c:pt idx="88">
                  <c:v>122.9</c:v>
                </c:pt>
                <c:pt idx="89">
                  <c:v>125.7</c:v>
                </c:pt>
                <c:pt idx="90">
                  <c:v>134.6</c:v>
                </c:pt>
                <c:pt idx="91">
                  <c:v>136.69999999999999</c:v>
                </c:pt>
                <c:pt idx="92">
                  <c:v>137.1</c:v>
                </c:pt>
                <c:pt idx="93">
                  <c:v>156.30000000000001</c:v>
                </c:pt>
                <c:pt idx="94">
                  <c:v>159.4</c:v>
                </c:pt>
                <c:pt idx="95">
                  <c:v>159.6</c:v>
                </c:pt>
                <c:pt idx="96">
                  <c:v>167.7</c:v>
                </c:pt>
                <c:pt idx="97">
                  <c:v>155.80000000000001</c:v>
                </c:pt>
                <c:pt idx="98">
                  <c:v>157.5</c:v>
                </c:pt>
                <c:pt idx="99">
                  <c:v>162.19999999999999</c:v>
                </c:pt>
                <c:pt idx="100">
                  <c:v>162.1</c:v>
                </c:pt>
                <c:pt idx="101">
                  <c:v>162.30000000000001</c:v>
                </c:pt>
                <c:pt idx="102">
                  <c:v>161.80000000000001</c:v>
                </c:pt>
                <c:pt idx="103">
                  <c:v>161.1</c:v>
                </c:pt>
                <c:pt idx="104">
                  <c:v>161.19999999999999</c:v>
                </c:pt>
                <c:pt idx="105">
                  <c:v>159.6</c:v>
                </c:pt>
                <c:pt idx="106">
                  <c:v>160.1</c:v>
                </c:pt>
                <c:pt idx="107">
                  <c:v>160.1</c:v>
                </c:pt>
                <c:pt idx="108">
                  <c:v>187.7</c:v>
                </c:pt>
                <c:pt idx="109">
                  <c:v>188.1</c:v>
                </c:pt>
                <c:pt idx="110">
                  <c:v>188.6</c:v>
                </c:pt>
                <c:pt idx="111">
                  <c:v>184.8</c:v>
                </c:pt>
                <c:pt idx="112">
                  <c:v>185.4</c:v>
                </c:pt>
                <c:pt idx="113">
                  <c:v>185</c:v>
                </c:pt>
                <c:pt idx="114">
                  <c:v>189.7</c:v>
                </c:pt>
                <c:pt idx="115">
                  <c:v>189.3</c:v>
                </c:pt>
                <c:pt idx="116">
                  <c:v>190.4</c:v>
                </c:pt>
                <c:pt idx="117">
                  <c:v>188.2</c:v>
                </c:pt>
                <c:pt idx="118">
                  <c:v>187.7</c:v>
                </c:pt>
                <c:pt idx="119">
                  <c:v>187.7</c:v>
                </c:pt>
                <c:pt idx="120">
                  <c:v>184.9</c:v>
                </c:pt>
                <c:pt idx="121" formatCode="#,##0.0">
                  <c:v>185</c:v>
                </c:pt>
                <c:pt idx="122" formatCode="#,##0.0">
                  <c:v>185</c:v>
                </c:pt>
                <c:pt idx="123" formatCode="#,##0.0">
                  <c:v>184.6</c:v>
                </c:pt>
                <c:pt idx="124" formatCode="#,##0.0">
                  <c:v>184.4</c:v>
                </c:pt>
                <c:pt idx="125" formatCode="#,##0.0">
                  <c:v>184.4</c:v>
                </c:pt>
                <c:pt idx="126" formatCode="#,##0.0">
                  <c:v>185.8</c:v>
                </c:pt>
                <c:pt idx="127" formatCode="#,##0.0">
                  <c:v>185.8</c:v>
                </c:pt>
                <c:pt idx="128" formatCode="#,##0.0">
                  <c:v>185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245-49E1-9510-1A506CB4AEE7}"/>
            </c:ext>
          </c:extLst>
        </c:ser>
        <c:ser>
          <c:idx val="2"/>
          <c:order val="3"/>
          <c:tx>
            <c:strRef>
              <c:f>Sheet1!$E$2</c:f>
              <c:strCache>
                <c:ptCount val="1"/>
                <c:pt idx="0">
                  <c:v>Heizöl</c:v>
                </c:pt>
              </c:strCache>
            </c:strRef>
          </c:tx>
          <c:spPr>
            <a:ln w="19050">
              <a:solidFill>
                <a:srgbClr val="477390"/>
              </a:solidFill>
              <a:prstDash val="solid"/>
            </a:ln>
          </c:spPr>
          <c:marker>
            <c:symbol val="none"/>
          </c:marker>
          <c:cat>
            <c:numRef>
              <c:f>Sheet1!$A$3:$A$182</c:f>
              <c:numCache>
                <c:formatCode>mm\/yy</c:formatCode>
                <c:ptCount val="180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  <c:pt idx="104">
                  <c:v>45170</c:v>
                </c:pt>
                <c:pt idx="105">
                  <c:v>45200</c:v>
                </c:pt>
                <c:pt idx="106">
                  <c:v>45231</c:v>
                </c:pt>
                <c:pt idx="107">
                  <c:v>45261</c:v>
                </c:pt>
                <c:pt idx="108">
                  <c:v>45292</c:v>
                </c:pt>
                <c:pt idx="109">
                  <c:v>45323</c:v>
                </c:pt>
                <c:pt idx="110">
                  <c:v>45352</c:v>
                </c:pt>
                <c:pt idx="111">
                  <c:v>45383</c:v>
                </c:pt>
                <c:pt idx="112">
                  <c:v>45413</c:v>
                </c:pt>
                <c:pt idx="113">
                  <c:v>45444</c:v>
                </c:pt>
                <c:pt idx="114">
                  <c:v>45474</c:v>
                </c:pt>
                <c:pt idx="115">
                  <c:v>45505</c:v>
                </c:pt>
                <c:pt idx="116">
                  <c:v>45536</c:v>
                </c:pt>
                <c:pt idx="117">
                  <c:v>45566</c:v>
                </c:pt>
                <c:pt idx="118">
                  <c:v>45597</c:v>
                </c:pt>
                <c:pt idx="119">
                  <c:v>45627</c:v>
                </c:pt>
                <c:pt idx="120">
                  <c:v>45658</c:v>
                </c:pt>
                <c:pt idx="121">
                  <c:v>45689</c:v>
                </c:pt>
                <c:pt idx="122">
                  <c:v>45717</c:v>
                </c:pt>
                <c:pt idx="123">
                  <c:v>45748</c:v>
                </c:pt>
                <c:pt idx="124">
                  <c:v>45778</c:v>
                </c:pt>
                <c:pt idx="125">
                  <c:v>45809</c:v>
                </c:pt>
                <c:pt idx="126">
                  <c:v>45839</c:v>
                </c:pt>
                <c:pt idx="127">
                  <c:v>45870</c:v>
                </c:pt>
                <c:pt idx="128">
                  <c:v>45901</c:v>
                </c:pt>
              </c:numCache>
            </c:numRef>
          </c:cat>
          <c:val>
            <c:numRef>
              <c:f>Sheet1!$E$3:$E$182</c:f>
              <c:numCache>
                <c:formatCode>General</c:formatCode>
                <c:ptCount val="180"/>
                <c:pt idx="0">
                  <c:v>74.2</c:v>
                </c:pt>
                <c:pt idx="1">
                  <c:v>90.2</c:v>
                </c:pt>
                <c:pt idx="2">
                  <c:v>86.2</c:v>
                </c:pt>
                <c:pt idx="3">
                  <c:v>90.4</c:v>
                </c:pt>
                <c:pt idx="4">
                  <c:v>92.6</c:v>
                </c:pt>
                <c:pt idx="5">
                  <c:v>89</c:v>
                </c:pt>
                <c:pt idx="6">
                  <c:v>85.2</c:v>
                </c:pt>
                <c:pt idx="7">
                  <c:v>78.5</c:v>
                </c:pt>
                <c:pt idx="8">
                  <c:v>76.599999999999994</c:v>
                </c:pt>
                <c:pt idx="9">
                  <c:v>75</c:v>
                </c:pt>
                <c:pt idx="10">
                  <c:v>75.5</c:v>
                </c:pt>
                <c:pt idx="11">
                  <c:v>61.2</c:v>
                </c:pt>
                <c:pt idx="12">
                  <c:v>54.4</c:v>
                </c:pt>
                <c:pt idx="13">
                  <c:v>56.4</c:v>
                </c:pt>
                <c:pt idx="14">
                  <c:v>62.7</c:v>
                </c:pt>
                <c:pt idx="15">
                  <c:v>64.2</c:v>
                </c:pt>
                <c:pt idx="16">
                  <c:v>71.099999999999994</c:v>
                </c:pt>
                <c:pt idx="17">
                  <c:v>71.5</c:v>
                </c:pt>
                <c:pt idx="18">
                  <c:v>68</c:v>
                </c:pt>
                <c:pt idx="19">
                  <c:v>69.8</c:v>
                </c:pt>
                <c:pt idx="20">
                  <c:v>68.2</c:v>
                </c:pt>
                <c:pt idx="21">
                  <c:v>77.8</c:v>
                </c:pt>
                <c:pt idx="22">
                  <c:v>71.900000000000006</c:v>
                </c:pt>
                <c:pt idx="23">
                  <c:v>82.7</c:v>
                </c:pt>
                <c:pt idx="24">
                  <c:v>82.2</c:v>
                </c:pt>
                <c:pt idx="25">
                  <c:v>83.6</c:v>
                </c:pt>
                <c:pt idx="26">
                  <c:v>78.3</c:v>
                </c:pt>
                <c:pt idx="27">
                  <c:v>82.5</c:v>
                </c:pt>
                <c:pt idx="28">
                  <c:v>77.400000000000006</c:v>
                </c:pt>
                <c:pt idx="29">
                  <c:v>71.8</c:v>
                </c:pt>
                <c:pt idx="30">
                  <c:v>73.5</c:v>
                </c:pt>
                <c:pt idx="31">
                  <c:v>73.7</c:v>
                </c:pt>
                <c:pt idx="32">
                  <c:v>78.900000000000006</c:v>
                </c:pt>
                <c:pt idx="33">
                  <c:v>80.8</c:v>
                </c:pt>
                <c:pt idx="34">
                  <c:v>82.9</c:v>
                </c:pt>
                <c:pt idx="35">
                  <c:v>84.7</c:v>
                </c:pt>
                <c:pt idx="36">
                  <c:v>88.1</c:v>
                </c:pt>
                <c:pt idx="37">
                  <c:v>82.3</c:v>
                </c:pt>
                <c:pt idx="38">
                  <c:v>84.1</c:v>
                </c:pt>
                <c:pt idx="39">
                  <c:v>90.1</c:v>
                </c:pt>
                <c:pt idx="40">
                  <c:v>97.9</c:v>
                </c:pt>
                <c:pt idx="41">
                  <c:v>95.8</c:v>
                </c:pt>
                <c:pt idx="42">
                  <c:v>94.5</c:v>
                </c:pt>
                <c:pt idx="43">
                  <c:v>98.2</c:v>
                </c:pt>
                <c:pt idx="44">
                  <c:v>106</c:v>
                </c:pt>
                <c:pt idx="45">
                  <c:v>111.3</c:v>
                </c:pt>
                <c:pt idx="46">
                  <c:v>113.7</c:v>
                </c:pt>
                <c:pt idx="47">
                  <c:v>93.6</c:v>
                </c:pt>
                <c:pt idx="48">
                  <c:v>90.6</c:v>
                </c:pt>
                <c:pt idx="49">
                  <c:v>95.3</c:v>
                </c:pt>
                <c:pt idx="50">
                  <c:v>94.5</c:v>
                </c:pt>
                <c:pt idx="51">
                  <c:v>97.5</c:v>
                </c:pt>
                <c:pt idx="52">
                  <c:v>99.2</c:v>
                </c:pt>
                <c:pt idx="53">
                  <c:v>91</c:v>
                </c:pt>
                <c:pt idx="54">
                  <c:v>94.3</c:v>
                </c:pt>
                <c:pt idx="55">
                  <c:v>91</c:v>
                </c:pt>
                <c:pt idx="56">
                  <c:v>97.9</c:v>
                </c:pt>
                <c:pt idx="57">
                  <c:v>93.2</c:v>
                </c:pt>
                <c:pt idx="58">
                  <c:v>92.3</c:v>
                </c:pt>
                <c:pt idx="59">
                  <c:v>94.3</c:v>
                </c:pt>
                <c:pt idx="60">
                  <c:v>91.2</c:v>
                </c:pt>
                <c:pt idx="61">
                  <c:v>85.8</c:v>
                </c:pt>
                <c:pt idx="62">
                  <c:v>67.099999999999994</c:v>
                </c:pt>
                <c:pt idx="63">
                  <c:v>60.7</c:v>
                </c:pt>
                <c:pt idx="64">
                  <c:v>57.9</c:v>
                </c:pt>
                <c:pt idx="65">
                  <c:v>60.7</c:v>
                </c:pt>
                <c:pt idx="66">
                  <c:v>63.3</c:v>
                </c:pt>
                <c:pt idx="67">
                  <c:v>62.3</c:v>
                </c:pt>
                <c:pt idx="68">
                  <c:v>55.8</c:v>
                </c:pt>
                <c:pt idx="69">
                  <c:v>59.4</c:v>
                </c:pt>
                <c:pt idx="70">
                  <c:v>59.3</c:v>
                </c:pt>
                <c:pt idx="71">
                  <c:v>66.900000000000006</c:v>
                </c:pt>
                <c:pt idx="72">
                  <c:v>81.7</c:v>
                </c:pt>
                <c:pt idx="73">
                  <c:v>89.2</c:v>
                </c:pt>
                <c:pt idx="74">
                  <c:v>93.7</c:v>
                </c:pt>
                <c:pt idx="75">
                  <c:v>91.4</c:v>
                </c:pt>
                <c:pt idx="76">
                  <c:v>93.9</c:v>
                </c:pt>
                <c:pt idx="77">
                  <c:v>97.6</c:v>
                </c:pt>
                <c:pt idx="78">
                  <c:v>100.7</c:v>
                </c:pt>
                <c:pt idx="79">
                  <c:v>98.2</c:v>
                </c:pt>
                <c:pt idx="80">
                  <c:v>103.2</c:v>
                </c:pt>
                <c:pt idx="81">
                  <c:v>120.8</c:v>
                </c:pt>
                <c:pt idx="82">
                  <c:v>117.4</c:v>
                </c:pt>
                <c:pt idx="83">
                  <c:v>112.3</c:v>
                </c:pt>
                <c:pt idx="84">
                  <c:v>125.9</c:v>
                </c:pt>
                <c:pt idx="85">
                  <c:v>136.80000000000001</c:v>
                </c:pt>
                <c:pt idx="86">
                  <c:v>216.2</c:v>
                </c:pt>
                <c:pt idx="87">
                  <c:v>181.1</c:v>
                </c:pt>
                <c:pt idx="88">
                  <c:v>178.7</c:v>
                </c:pt>
                <c:pt idx="89">
                  <c:v>212.6</c:v>
                </c:pt>
                <c:pt idx="90">
                  <c:v>205.8</c:v>
                </c:pt>
                <c:pt idx="91">
                  <c:v>196.7</c:v>
                </c:pt>
                <c:pt idx="92">
                  <c:v>189.8</c:v>
                </c:pt>
                <c:pt idx="93">
                  <c:v>209.1</c:v>
                </c:pt>
                <c:pt idx="94">
                  <c:v>175.7</c:v>
                </c:pt>
                <c:pt idx="95">
                  <c:v>164.1</c:v>
                </c:pt>
                <c:pt idx="96">
                  <c:v>159.9</c:v>
                </c:pt>
                <c:pt idx="97">
                  <c:v>148.69999999999999</c:v>
                </c:pt>
                <c:pt idx="98">
                  <c:v>141.1</c:v>
                </c:pt>
                <c:pt idx="99">
                  <c:v>136.80000000000001</c:v>
                </c:pt>
                <c:pt idx="100">
                  <c:v>122.9</c:v>
                </c:pt>
                <c:pt idx="101">
                  <c:v>126.4</c:v>
                </c:pt>
                <c:pt idx="102">
                  <c:v>130.19999999999999</c:v>
                </c:pt>
                <c:pt idx="103">
                  <c:v>150.4</c:v>
                </c:pt>
                <c:pt idx="104">
                  <c:v>166.7</c:v>
                </c:pt>
                <c:pt idx="105">
                  <c:v>163</c:v>
                </c:pt>
                <c:pt idx="106">
                  <c:v>148.19999999999999</c:v>
                </c:pt>
                <c:pt idx="107">
                  <c:v>141.4</c:v>
                </c:pt>
                <c:pt idx="108">
                  <c:v>143.4</c:v>
                </c:pt>
                <c:pt idx="109">
                  <c:v>151.1</c:v>
                </c:pt>
                <c:pt idx="110">
                  <c:v>147.1</c:v>
                </c:pt>
                <c:pt idx="111">
                  <c:v>149.1</c:v>
                </c:pt>
                <c:pt idx="112">
                  <c:v>138.30000000000001</c:v>
                </c:pt>
                <c:pt idx="113">
                  <c:v>141.5</c:v>
                </c:pt>
                <c:pt idx="114">
                  <c:v>139.30000000000001</c:v>
                </c:pt>
                <c:pt idx="115">
                  <c:v>133.6</c:v>
                </c:pt>
                <c:pt idx="116">
                  <c:v>122.7</c:v>
                </c:pt>
                <c:pt idx="117">
                  <c:v>128.19999999999999</c:v>
                </c:pt>
                <c:pt idx="118">
                  <c:v>129.6</c:v>
                </c:pt>
                <c:pt idx="119">
                  <c:v>133.4</c:v>
                </c:pt>
                <c:pt idx="120">
                  <c:v>145.5</c:v>
                </c:pt>
                <c:pt idx="121" formatCode="#,##0.0">
                  <c:v>139.19999999999999</c:v>
                </c:pt>
                <c:pt idx="122" formatCode="#,##0.0">
                  <c:v>129.30000000000001</c:v>
                </c:pt>
                <c:pt idx="123" formatCode="#,##0.0">
                  <c:v>125.4</c:v>
                </c:pt>
                <c:pt idx="124" formatCode="#,##0.0">
                  <c:v>124</c:v>
                </c:pt>
                <c:pt idx="125" formatCode="#,##0.0">
                  <c:v>132.6</c:v>
                </c:pt>
                <c:pt idx="126" formatCode="#,##0.0">
                  <c:v>132.1</c:v>
                </c:pt>
                <c:pt idx="127" formatCode="#,##0.0">
                  <c:v>124.9</c:v>
                </c:pt>
                <c:pt idx="128" formatCode="#,##0.0">
                  <c:v>129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245-49E1-9510-1A506CB4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1361408"/>
        <c:axId val="171362944"/>
      </c:lineChart>
      <c:dateAx>
        <c:axId val="171361408"/>
        <c:scaling>
          <c:orientation val="minMax"/>
        </c:scaling>
        <c:delete val="0"/>
        <c:axPos val="b"/>
        <c:majorGridlines>
          <c:spPr>
            <a:ln w="6350">
              <a:solidFill>
                <a:srgbClr val="B5C0C9"/>
              </a:solidFill>
            </a:ln>
          </c:spPr>
        </c:majorGridlines>
        <c:numFmt formatCode="mm\/yy" sourceLinked="0"/>
        <c:majorTickMark val="out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050" b="0">
                <a:latin typeface="+mj-lt"/>
              </a:defRPr>
            </a:pPr>
            <a:endParaRPr lang="de-DE"/>
          </a:p>
        </c:txPr>
        <c:crossAx val="171362944"/>
        <c:crosses val="autoZero"/>
        <c:auto val="1"/>
        <c:lblOffset val="100"/>
        <c:baseTimeUnit val="months"/>
        <c:majorUnit val="1"/>
        <c:majorTimeUnit val="years"/>
      </c:dateAx>
      <c:valAx>
        <c:axId val="171362944"/>
        <c:scaling>
          <c:orientation val="minMax"/>
          <c:max val="400"/>
        </c:scaling>
        <c:delete val="0"/>
        <c:axPos val="l"/>
        <c:majorGridlines>
          <c:spPr>
            <a:ln w="6350">
              <a:solidFill>
                <a:srgbClr val="B5C0C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100">
            <a:noFill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j-lt"/>
                <a:ea typeface="Arial"/>
                <a:cs typeface="Arial"/>
              </a:defRPr>
            </a:pPr>
            <a:endParaRPr lang="de-DE"/>
          </a:p>
        </c:txPr>
        <c:crossAx val="171361408"/>
        <c:crosses val="autoZero"/>
        <c:crossBetween val="between"/>
      </c:valAx>
      <c:spPr>
        <a:noFill/>
        <a:ln w="9525">
          <a:noFill/>
        </a:ln>
      </c:spPr>
    </c:plotArea>
    <c:legend>
      <c:legendPos val="b"/>
      <c:layout>
        <c:manualLayout>
          <c:xMode val="edge"/>
          <c:yMode val="edge"/>
          <c:x val="1.5204249336280643E-2"/>
          <c:y val="0.87321121550699865"/>
          <c:w val="0.95134640212390187"/>
          <c:h val="8.5396459591732587E-2"/>
        </c:manualLayout>
      </c:layout>
      <c:overlay val="0"/>
      <c:spPr>
        <a:noFill/>
        <a:ln w="24268">
          <a:noFill/>
        </a:ln>
      </c:spPr>
      <c:txPr>
        <a:bodyPr/>
        <a:lstStyle/>
        <a:p>
          <a:pPr>
            <a:defRPr sz="1200" b="1" i="0" u="none" strike="noStrike" baseline="0">
              <a:solidFill>
                <a:schemeClr val="tx1"/>
              </a:solidFill>
              <a:latin typeface="+mj-lt"/>
              <a:ea typeface="Arial"/>
              <a:cs typeface="Arial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72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b="1">
                <a:latin typeface="+mj-lt"/>
              </a:defRPr>
            </a:pPr>
            <a:r>
              <a:rPr lang="de-DE" sz="1400" b="1" dirty="0">
                <a:latin typeface="+mj-lt"/>
              </a:rPr>
              <a:t>Industrie</a:t>
            </a:r>
          </a:p>
        </c:rich>
      </c:tx>
      <c:layout>
        <c:manualLayout>
          <c:xMode val="edge"/>
          <c:yMode val="edge"/>
          <c:x val="8.8836382144247175E-2"/>
          <c:y val="3.6741210822514203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5.6713928273561413E-2"/>
          <c:y val="8.3239093574077952E-2"/>
          <c:w val="0.92249773240405364"/>
          <c:h val="0.64458982777629747"/>
        </c:manualLayout>
      </c:layout>
      <c:lineChart>
        <c:grouping val="standard"/>
        <c:varyColors val="0"/>
        <c:ser>
          <c:idx val="6"/>
          <c:order val="0"/>
          <c:tx>
            <c:strRef>
              <c:f>Sheet1!$B$2</c:f>
              <c:strCache>
                <c:ptCount val="1"/>
                <c:pt idx="0">
                  <c:v>Strom</c:v>
                </c:pt>
              </c:strCache>
            </c:strRef>
          </c:tx>
          <c:spPr>
            <a:ln w="19050">
              <a:solidFill>
                <a:srgbClr val="FF7F24"/>
              </a:solidFill>
              <a:prstDash val="solid"/>
            </a:ln>
          </c:spPr>
          <c:marker>
            <c:symbol val="none"/>
          </c:marker>
          <c:cat>
            <c:numRef>
              <c:f>Sheet1!$A$3:$A$186</c:f>
              <c:numCache>
                <c:formatCode>mm\/yy</c:formatCode>
                <c:ptCount val="184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  <c:pt idx="104">
                  <c:v>45170</c:v>
                </c:pt>
                <c:pt idx="105">
                  <c:v>45200</c:v>
                </c:pt>
                <c:pt idx="106">
                  <c:v>45231</c:v>
                </c:pt>
                <c:pt idx="107">
                  <c:v>45261</c:v>
                </c:pt>
                <c:pt idx="108">
                  <c:v>45292</c:v>
                </c:pt>
                <c:pt idx="109">
                  <c:v>45323</c:v>
                </c:pt>
                <c:pt idx="110">
                  <c:v>45352</c:v>
                </c:pt>
                <c:pt idx="111">
                  <c:v>45383</c:v>
                </c:pt>
                <c:pt idx="112">
                  <c:v>45413</c:v>
                </c:pt>
                <c:pt idx="113">
                  <c:v>45444</c:v>
                </c:pt>
                <c:pt idx="114">
                  <c:v>45474</c:v>
                </c:pt>
                <c:pt idx="115">
                  <c:v>45505</c:v>
                </c:pt>
                <c:pt idx="116">
                  <c:v>45536</c:v>
                </c:pt>
                <c:pt idx="117">
                  <c:v>45566</c:v>
                </c:pt>
                <c:pt idx="118">
                  <c:v>45597</c:v>
                </c:pt>
                <c:pt idx="119">
                  <c:v>45627</c:v>
                </c:pt>
                <c:pt idx="120">
                  <c:v>45658</c:v>
                </c:pt>
                <c:pt idx="121">
                  <c:v>45689</c:v>
                </c:pt>
                <c:pt idx="122">
                  <c:v>45717</c:v>
                </c:pt>
                <c:pt idx="123">
                  <c:v>45748</c:v>
                </c:pt>
                <c:pt idx="124">
                  <c:v>45778</c:v>
                </c:pt>
                <c:pt idx="125">
                  <c:v>45809</c:v>
                </c:pt>
                <c:pt idx="126">
                  <c:v>45839</c:v>
                </c:pt>
                <c:pt idx="127">
                  <c:v>45870</c:v>
                </c:pt>
                <c:pt idx="128">
                  <c:v>45901</c:v>
                </c:pt>
              </c:numCache>
            </c:numRef>
          </c:cat>
          <c:val>
            <c:numRef>
              <c:f>Sheet1!$B$3:$B$186</c:f>
              <c:numCache>
                <c:formatCode>General</c:formatCode>
                <c:ptCount val="184"/>
                <c:pt idx="0">
                  <c:v>65.2</c:v>
                </c:pt>
                <c:pt idx="1">
                  <c:v>66.7</c:v>
                </c:pt>
                <c:pt idx="2">
                  <c:v>65.599999999999994</c:v>
                </c:pt>
                <c:pt idx="3">
                  <c:v>65.2</c:v>
                </c:pt>
                <c:pt idx="4">
                  <c:v>64.400000000000006</c:v>
                </c:pt>
                <c:pt idx="5">
                  <c:v>65</c:v>
                </c:pt>
                <c:pt idx="6">
                  <c:v>65.8</c:v>
                </c:pt>
                <c:pt idx="7">
                  <c:v>65.099999999999994</c:v>
                </c:pt>
                <c:pt idx="8">
                  <c:v>64.7</c:v>
                </c:pt>
                <c:pt idx="9">
                  <c:v>65.400000000000006</c:v>
                </c:pt>
                <c:pt idx="10">
                  <c:v>64.5</c:v>
                </c:pt>
                <c:pt idx="11">
                  <c:v>63.7</c:v>
                </c:pt>
                <c:pt idx="12">
                  <c:v>63</c:v>
                </c:pt>
                <c:pt idx="13">
                  <c:v>60.9</c:v>
                </c:pt>
                <c:pt idx="14">
                  <c:v>61.4</c:v>
                </c:pt>
                <c:pt idx="15">
                  <c:v>61.7</c:v>
                </c:pt>
                <c:pt idx="16">
                  <c:v>62.1</c:v>
                </c:pt>
                <c:pt idx="17">
                  <c:v>63.6</c:v>
                </c:pt>
                <c:pt idx="18">
                  <c:v>64.099999999999994</c:v>
                </c:pt>
                <c:pt idx="19">
                  <c:v>63.9</c:v>
                </c:pt>
                <c:pt idx="20">
                  <c:v>64.099999999999994</c:v>
                </c:pt>
                <c:pt idx="21">
                  <c:v>67.400000000000006</c:v>
                </c:pt>
                <c:pt idx="22">
                  <c:v>68.3</c:v>
                </c:pt>
                <c:pt idx="23">
                  <c:v>67.099999999999994</c:v>
                </c:pt>
                <c:pt idx="24">
                  <c:v>71.099999999999994</c:v>
                </c:pt>
                <c:pt idx="25">
                  <c:v>69.7</c:v>
                </c:pt>
                <c:pt idx="26">
                  <c:v>68.2</c:v>
                </c:pt>
                <c:pt idx="27">
                  <c:v>68.2</c:v>
                </c:pt>
                <c:pt idx="28">
                  <c:v>68.3</c:v>
                </c:pt>
                <c:pt idx="29">
                  <c:v>68.599999999999994</c:v>
                </c:pt>
                <c:pt idx="30">
                  <c:v>69.400000000000006</c:v>
                </c:pt>
                <c:pt idx="31">
                  <c:v>69.5</c:v>
                </c:pt>
                <c:pt idx="32">
                  <c:v>71</c:v>
                </c:pt>
                <c:pt idx="33">
                  <c:v>70.400000000000006</c:v>
                </c:pt>
                <c:pt idx="34">
                  <c:v>72.099999999999994</c:v>
                </c:pt>
                <c:pt idx="35">
                  <c:v>71.599999999999994</c:v>
                </c:pt>
                <c:pt idx="36">
                  <c:v>70.900000000000006</c:v>
                </c:pt>
                <c:pt idx="37">
                  <c:v>71.7</c:v>
                </c:pt>
                <c:pt idx="38">
                  <c:v>71.5</c:v>
                </c:pt>
                <c:pt idx="39">
                  <c:v>72</c:v>
                </c:pt>
                <c:pt idx="40">
                  <c:v>73.7</c:v>
                </c:pt>
                <c:pt idx="41">
                  <c:v>75.7</c:v>
                </c:pt>
                <c:pt idx="42">
                  <c:v>77.7</c:v>
                </c:pt>
                <c:pt idx="43">
                  <c:v>79.599999999999994</c:v>
                </c:pt>
                <c:pt idx="44">
                  <c:v>81.7</c:v>
                </c:pt>
                <c:pt idx="45">
                  <c:v>81.5</c:v>
                </c:pt>
                <c:pt idx="46">
                  <c:v>81.400000000000006</c:v>
                </c:pt>
                <c:pt idx="47">
                  <c:v>81.099999999999994</c:v>
                </c:pt>
                <c:pt idx="48">
                  <c:v>80.400000000000006</c:v>
                </c:pt>
                <c:pt idx="49">
                  <c:v>78.5</c:v>
                </c:pt>
                <c:pt idx="50">
                  <c:v>76.900000000000006</c:v>
                </c:pt>
                <c:pt idx="51">
                  <c:v>78.7</c:v>
                </c:pt>
                <c:pt idx="52">
                  <c:v>78.599999999999994</c:v>
                </c:pt>
                <c:pt idx="53">
                  <c:v>77.3</c:v>
                </c:pt>
                <c:pt idx="54">
                  <c:v>79.900000000000006</c:v>
                </c:pt>
                <c:pt idx="55">
                  <c:v>78.599999999999994</c:v>
                </c:pt>
                <c:pt idx="56">
                  <c:v>78.7</c:v>
                </c:pt>
                <c:pt idx="57">
                  <c:v>78.5</c:v>
                </c:pt>
                <c:pt idx="58">
                  <c:v>78.3</c:v>
                </c:pt>
                <c:pt idx="59">
                  <c:v>76.400000000000006</c:v>
                </c:pt>
                <c:pt idx="60">
                  <c:v>76.900000000000006</c:v>
                </c:pt>
                <c:pt idx="61">
                  <c:v>74.599999999999994</c:v>
                </c:pt>
                <c:pt idx="62">
                  <c:v>72.5</c:v>
                </c:pt>
                <c:pt idx="63">
                  <c:v>72</c:v>
                </c:pt>
                <c:pt idx="64">
                  <c:v>71.599999999999994</c:v>
                </c:pt>
                <c:pt idx="65">
                  <c:v>73.8</c:v>
                </c:pt>
                <c:pt idx="66">
                  <c:v>75.599999999999994</c:v>
                </c:pt>
                <c:pt idx="67">
                  <c:v>75.900000000000006</c:v>
                </c:pt>
                <c:pt idx="68">
                  <c:v>77.900000000000006</c:v>
                </c:pt>
                <c:pt idx="69">
                  <c:v>76.099999999999994</c:v>
                </c:pt>
                <c:pt idx="70">
                  <c:v>76.2</c:v>
                </c:pt>
                <c:pt idx="71">
                  <c:v>79.2</c:v>
                </c:pt>
                <c:pt idx="72">
                  <c:v>82.5</c:v>
                </c:pt>
                <c:pt idx="73">
                  <c:v>82.8</c:v>
                </c:pt>
                <c:pt idx="74">
                  <c:v>83.4</c:v>
                </c:pt>
                <c:pt idx="75">
                  <c:v>85.4</c:v>
                </c:pt>
                <c:pt idx="76">
                  <c:v>88.1</c:v>
                </c:pt>
                <c:pt idx="77">
                  <c:v>90.1</c:v>
                </c:pt>
                <c:pt idx="78">
                  <c:v>93.4</c:v>
                </c:pt>
                <c:pt idx="79">
                  <c:v>96.7</c:v>
                </c:pt>
                <c:pt idx="80">
                  <c:v>107.8</c:v>
                </c:pt>
                <c:pt idx="81">
                  <c:v>121.7</c:v>
                </c:pt>
                <c:pt idx="82">
                  <c:v>118.5</c:v>
                </c:pt>
                <c:pt idx="83">
                  <c:v>149.6</c:v>
                </c:pt>
                <c:pt idx="84">
                  <c:v>138.6</c:v>
                </c:pt>
                <c:pt idx="85">
                  <c:v>139.1</c:v>
                </c:pt>
                <c:pt idx="86">
                  <c:v>164.7</c:v>
                </c:pt>
                <c:pt idx="87">
                  <c:v>158.1</c:v>
                </c:pt>
                <c:pt idx="88">
                  <c:v>159.1</c:v>
                </c:pt>
                <c:pt idx="89">
                  <c:v>166.9</c:v>
                </c:pt>
                <c:pt idx="90">
                  <c:v>211.8</c:v>
                </c:pt>
                <c:pt idx="91">
                  <c:v>277.10000000000002</c:v>
                </c:pt>
                <c:pt idx="92">
                  <c:v>261</c:v>
                </c:pt>
                <c:pt idx="93">
                  <c:v>217.5</c:v>
                </c:pt>
                <c:pt idx="94">
                  <c:v>190.4</c:v>
                </c:pt>
                <c:pt idx="95">
                  <c:v>191.6</c:v>
                </c:pt>
                <c:pt idx="96">
                  <c:v>136.19999999999999</c:v>
                </c:pt>
                <c:pt idx="97">
                  <c:v>129.80000000000001</c:v>
                </c:pt>
                <c:pt idx="98">
                  <c:v>119.7</c:v>
                </c:pt>
                <c:pt idx="99">
                  <c:v>119.8</c:v>
                </c:pt>
                <c:pt idx="100">
                  <c:v>114.2</c:v>
                </c:pt>
                <c:pt idx="101">
                  <c:v>115.6</c:v>
                </c:pt>
                <c:pt idx="102">
                  <c:v>113.8</c:v>
                </c:pt>
                <c:pt idx="103">
                  <c:v>114.5</c:v>
                </c:pt>
                <c:pt idx="104">
                  <c:v>112.5</c:v>
                </c:pt>
                <c:pt idx="105">
                  <c:v>113.6</c:v>
                </c:pt>
                <c:pt idx="106">
                  <c:v>110.6</c:v>
                </c:pt>
                <c:pt idx="107">
                  <c:v>103.9</c:v>
                </c:pt>
                <c:pt idx="108">
                  <c:v>105.5</c:v>
                </c:pt>
                <c:pt idx="109">
                  <c:v>100.5</c:v>
                </c:pt>
                <c:pt idx="110">
                  <c:v>101.3</c:v>
                </c:pt>
                <c:pt idx="111">
                  <c:v>104.4</c:v>
                </c:pt>
                <c:pt idx="112">
                  <c:v>105.6</c:v>
                </c:pt>
                <c:pt idx="113">
                  <c:v>107.1</c:v>
                </c:pt>
                <c:pt idx="114">
                  <c:v>106.2</c:v>
                </c:pt>
                <c:pt idx="115">
                  <c:v>110.6</c:v>
                </c:pt>
                <c:pt idx="116">
                  <c:v>106.8</c:v>
                </c:pt>
                <c:pt idx="117">
                  <c:v>107.7</c:v>
                </c:pt>
                <c:pt idx="118">
                  <c:v>114</c:v>
                </c:pt>
                <c:pt idx="119">
                  <c:v>113.5</c:v>
                </c:pt>
                <c:pt idx="120">
                  <c:v>112.7</c:v>
                </c:pt>
                <c:pt idx="121" formatCode="#,##0.0">
                  <c:v>111.8</c:v>
                </c:pt>
                <c:pt idx="122" formatCode="#,##0.0">
                  <c:v>105.6</c:v>
                </c:pt>
                <c:pt idx="123" formatCode="#,##0.0">
                  <c:v>102.2</c:v>
                </c:pt>
                <c:pt idx="124" formatCode="#,##0.0">
                  <c:v>103.2</c:v>
                </c:pt>
                <c:pt idx="125" formatCode="#,##0.0">
                  <c:v>103.5</c:v>
                </c:pt>
                <c:pt idx="126" formatCode="#,##0.0">
                  <c:v>103.9</c:v>
                </c:pt>
                <c:pt idx="127" formatCode="#,##0.0">
                  <c:v>102.8</c:v>
                </c:pt>
                <c:pt idx="128" formatCode="#,##0.0">
                  <c:v>104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EA8-409E-AFC0-0B6739FC1EC5}"/>
            </c:ext>
          </c:extLst>
        </c:ser>
        <c:ser>
          <c:idx val="4"/>
          <c:order val="1"/>
          <c:tx>
            <c:strRef>
              <c:f>Sheet1!$C$2</c:f>
              <c:strCache>
                <c:ptCount val="1"/>
                <c:pt idx="0">
                  <c:v>Erdgas</c:v>
                </c:pt>
              </c:strCache>
            </c:strRef>
          </c:tx>
          <c:spPr>
            <a:ln w="19050">
              <a:solidFill>
                <a:srgbClr val="46AA28"/>
              </a:solidFill>
              <a:prstDash val="solid"/>
            </a:ln>
          </c:spPr>
          <c:marker>
            <c:symbol val="none"/>
          </c:marker>
          <c:cat>
            <c:numRef>
              <c:f>Sheet1!$A$3:$A$186</c:f>
              <c:numCache>
                <c:formatCode>mm\/yy</c:formatCode>
                <c:ptCount val="184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  <c:pt idx="104">
                  <c:v>45170</c:v>
                </c:pt>
                <c:pt idx="105">
                  <c:v>45200</c:v>
                </c:pt>
                <c:pt idx="106">
                  <c:v>45231</c:v>
                </c:pt>
                <c:pt idx="107">
                  <c:v>45261</c:v>
                </c:pt>
                <c:pt idx="108">
                  <c:v>45292</c:v>
                </c:pt>
                <c:pt idx="109">
                  <c:v>45323</c:v>
                </c:pt>
                <c:pt idx="110">
                  <c:v>45352</c:v>
                </c:pt>
                <c:pt idx="111">
                  <c:v>45383</c:v>
                </c:pt>
                <c:pt idx="112">
                  <c:v>45413</c:v>
                </c:pt>
                <c:pt idx="113">
                  <c:v>45444</c:v>
                </c:pt>
                <c:pt idx="114">
                  <c:v>45474</c:v>
                </c:pt>
                <c:pt idx="115">
                  <c:v>45505</c:v>
                </c:pt>
                <c:pt idx="116">
                  <c:v>45536</c:v>
                </c:pt>
                <c:pt idx="117">
                  <c:v>45566</c:v>
                </c:pt>
                <c:pt idx="118">
                  <c:v>45597</c:v>
                </c:pt>
                <c:pt idx="119">
                  <c:v>45627</c:v>
                </c:pt>
                <c:pt idx="120">
                  <c:v>45658</c:v>
                </c:pt>
                <c:pt idx="121">
                  <c:v>45689</c:v>
                </c:pt>
                <c:pt idx="122">
                  <c:v>45717</c:v>
                </c:pt>
                <c:pt idx="123">
                  <c:v>45748</c:v>
                </c:pt>
                <c:pt idx="124">
                  <c:v>45778</c:v>
                </c:pt>
                <c:pt idx="125">
                  <c:v>45809</c:v>
                </c:pt>
                <c:pt idx="126">
                  <c:v>45839</c:v>
                </c:pt>
                <c:pt idx="127">
                  <c:v>45870</c:v>
                </c:pt>
                <c:pt idx="128">
                  <c:v>45901</c:v>
                </c:pt>
              </c:numCache>
            </c:numRef>
          </c:cat>
          <c:val>
            <c:numRef>
              <c:f>Sheet1!$C$3:$C$186</c:f>
              <c:numCache>
                <c:formatCode>General</c:formatCode>
                <c:ptCount val="184"/>
                <c:pt idx="0">
                  <c:v>82</c:v>
                </c:pt>
                <c:pt idx="1">
                  <c:v>79.8</c:v>
                </c:pt>
                <c:pt idx="2">
                  <c:v>81.599999999999994</c:v>
                </c:pt>
                <c:pt idx="3">
                  <c:v>79.8</c:v>
                </c:pt>
                <c:pt idx="4">
                  <c:v>80.099999999999994</c:v>
                </c:pt>
                <c:pt idx="5">
                  <c:v>79.2</c:v>
                </c:pt>
                <c:pt idx="6">
                  <c:v>78.099999999999994</c:v>
                </c:pt>
                <c:pt idx="7">
                  <c:v>77.599999999999994</c:v>
                </c:pt>
                <c:pt idx="8">
                  <c:v>75.8</c:v>
                </c:pt>
                <c:pt idx="9">
                  <c:v>74.2</c:v>
                </c:pt>
                <c:pt idx="10">
                  <c:v>73.2</c:v>
                </c:pt>
                <c:pt idx="11">
                  <c:v>72.2</c:v>
                </c:pt>
                <c:pt idx="12">
                  <c:v>67.7</c:v>
                </c:pt>
                <c:pt idx="13">
                  <c:v>65.099999999999994</c:v>
                </c:pt>
                <c:pt idx="14">
                  <c:v>64.599999999999994</c:v>
                </c:pt>
                <c:pt idx="15">
                  <c:v>63.8</c:v>
                </c:pt>
                <c:pt idx="16">
                  <c:v>63.7</c:v>
                </c:pt>
                <c:pt idx="17">
                  <c:v>65.2</c:v>
                </c:pt>
                <c:pt idx="18">
                  <c:v>66.099999999999994</c:v>
                </c:pt>
                <c:pt idx="19">
                  <c:v>66.099999999999994</c:v>
                </c:pt>
                <c:pt idx="20">
                  <c:v>63.9</c:v>
                </c:pt>
                <c:pt idx="21">
                  <c:v>64.7</c:v>
                </c:pt>
                <c:pt idx="22">
                  <c:v>67.2</c:v>
                </c:pt>
                <c:pt idx="23">
                  <c:v>68.099999999999994</c:v>
                </c:pt>
                <c:pt idx="24">
                  <c:v>71.3</c:v>
                </c:pt>
                <c:pt idx="25">
                  <c:v>71.400000000000006</c:v>
                </c:pt>
                <c:pt idx="26">
                  <c:v>70.7</c:v>
                </c:pt>
                <c:pt idx="27">
                  <c:v>69.400000000000006</c:v>
                </c:pt>
                <c:pt idx="28">
                  <c:v>69.3</c:v>
                </c:pt>
                <c:pt idx="29">
                  <c:v>68.900000000000006</c:v>
                </c:pt>
                <c:pt idx="30">
                  <c:v>68.599999999999994</c:v>
                </c:pt>
                <c:pt idx="31">
                  <c:v>68.400000000000006</c:v>
                </c:pt>
                <c:pt idx="32">
                  <c:v>69.3</c:v>
                </c:pt>
                <c:pt idx="33">
                  <c:v>69.8</c:v>
                </c:pt>
                <c:pt idx="34">
                  <c:v>70.3</c:v>
                </c:pt>
                <c:pt idx="35">
                  <c:v>71.8</c:v>
                </c:pt>
                <c:pt idx="36">
                  <c:v>72.5</c:v>
                </c:pt>
                <c:pt idx="37">
                  <c:v>71.099999999999994</c:v>
                </c:pt>
                <c:pt idx="38">
                  <c:v>71.8</c:v>
                </c:pt>
                <c:pt idx="39">
                  <c:v>73.7</c:v>
                </c:pt>
                <c:pt idx="40">
                  <c:v>74.099999999999994</c:v>
                </c:pt>
                <c:pt idx="41">
                  <c:v>75.3</c:v>
                </c:pt>
                <c:pt idx="42">
                  <c:v>76</c:v>
                </c:pt>
                <c:pt idx="43">
                  <c:v>76.7</c:v>
                </c:pt>
                <c:pt idx="44">
                  <c:v>78.900000000000006</c:v>
                </c:pt>
                <c:pt idx="45">
                  <c:v>82.7</c:v>
                </c:pt>
                <c:pt idx="46">
                  <c:v>84.1</c:v>
                </c:pt>
                <c:pt idx="47">
                  <c:v>82.4</c:v>
                </c:pt>
                <c:pt idx="48">
                  <c:v>81</c:v>
                </c:pt>
                <c:pt idx="49">
                  <c:v>80.5</c:v>
                </c:pt>
                <c:pt idx="50">
                  <c:v>76.900000000000006</c:v>
                </c:pt>
                <c:pt idx="51">
                  <c:v>75</c:v>
                </c:pt>
                <c:pt idx="52">
                  <c:v>72.2</c:v>
                </c:pt>
                <c:pt idx="53">
                  <c:v>69.400000000000006</c:v>
                </c:pt>
                <c:pt idx="54">
                  <c:v>66.3</c:v>
                </c:pt>
                <c:pt idx="55">
                  <c:v>64.7</c:v>
                </c:pt>
                <c:pt idx="56">
                  <c:v>64.8</c:v>
                </c:pt>
                <c:pt idx="57">
                  <c:v>64.8</c:v>
                </c:pt>
                <c:pt idx="58">
                  <c:v>65.5</c:v>
                </c:pt>
                <c:pt idx="59">
                  <c:v>68.8</c:v>
                </c:pt>
                <c:pt idx="60">
                  <c:v>66.8</c:v>
                </c:pt>
                <c:pt idx="61">
                  <c:v>62.8</c:v>
                </c:pt>
                <c:pt idx="62">
                  <c:v>58.8</c:v>
                </c:pt>
                <c:pt idx="63">
                  <c:v>55.6</c:v>
                </c:pt>
                <c:pt idx="64">
                  <c:v>53.6</c:v>
                </c:pt>
                <c:pt idx="65">
                  <c:v>51.1</c:v>
                </c:pt>
                <c:pt idx="66">
                  <c:v>50.4</c:v>
                </c:pt>
                <c:pt idx="67">
                  <c:v>50</c:v>
                </c:pt>
                <c:pt idx="68">
                  <c:v>53.4</c:v>
                </c:pt>
                <c:pt idx="69">
                  <c:v>58</c:v>
                </c:pt>
                <c:pt idx="70">
                  <c:v>61.9</c:v>
                </c:pt>
                <c:pt idx="71">
                  <c:v>64.2</c:v>
                </c:pt>
                <c:pt idx="72">
                  <c:v>73.7</c:v>
                </c:pt>
                <c:pt idx="73">
                  <c:v>75.8</c:v>
                </c:pt>
                <c:pt idx="74">
                  <c:v>74.7</c:v>
                </c:pt>
                <c:pt idx="75">
                  <c:v>75.900000000000006</c:v>
                </c:pt>
                <c:pt idx="76">
                  <c:v>79.8</c:v>
                </c:pt>
                <c:pt idx="77">
                  <c:v>83.2</c:v>
                </c:pt>
                <c:pt idx="78">
                  <c:v>89.9</c:v>
                </c:pt>
                <c:pt idx="79">
                  <c:v>97.1</c:v>
                </c:pt>
                <c:pt idx="80">
                  <c:v>108.1</c:v>
                </c:pt>
                <c:pt idx="81">
                  <c:v>136.1</c:v>
                </c:pt>
                <c:pt idx="82">
                  <c:v>144.69999999999999</c:v>
                </c:pt>
                <c:pt idx="83">
                  <c:v>160.80000000000001</c:v>
                </c:pt>
                <c:pt idx="84">
                  <c:v>176.5</c:v>
                </c:pt>
                <c:pt idx="85">
                  <c:v>179</c:v>
                </c:pt>
                <c:pt idx="86">
                  <c:v>185.3</c:v>
                </c:pt>
                <c:pt idx="87">
                  <c:v>212.2</c:v>
                </c:pt>
                <c:pt idx="88">
                  <c:v>201.6</c:v>
                </c:pt>
                <c:pt idx="89">
                  <c:v>198.4</c:v>
                </c:pt>
                <c:pt idx="90">
                  <c:v>226.9</c:v>
                </c:pt>
                <c:pt idx="91">
                  <c:v>297.7</c:v>
                </c:pt>
                <c:pt idx="92">
                  <c:v>335.8</c:v>
                </c:pt>
                <c:pt idx="93">
                  <c:v>321.5</c:v>
                </c:pt>
                <c:pt idx="94">
                  <c:v>240.2</c:v>
                </c:pt>
                <c:pt idx="95">
                  <c:v>238.1</c:v>
                </c:pt>
                <c:pt idx="96">
                  <c:v>233.4</c:v>
                </c:pt>
                <c:pt idx="97">
                  <c:v>214.8</c:v>
                </c:pt>
                <c:pt idx="98">
                  <c:v>206.1</c:v>
                </c:pt>
                <c:pt idx="99">
                  <c:v>202</c:v>
                </c:pt>
                <c:pt idx="100">
                  <c:v>193.2</c:v>
                </c:pt>
                <c:pt idx="101">
                  <c:v>183.6</c:v>
                </c:pt>
                <c:pt idx="102">
                  <c:v>179.9</c:v>
                </c:pt>
                <c:pt idx="103">
                  <c:v>175.7</c:v>
                </c:pt>
                <c:pt idx="104">
                  <c:v>180</c:v>
                </c:pt>
                <c:pt idx="105">
                  <c:v>181</c:v>
                </c:pt>
                <c:pt idx="106">
                  <c:v>181</c:v>
                </c:pt>
                <c:pt idx="107">
                  <c:v>177.2</c:v>
                </c:pt>
                <c:pt idx="108">
                  <c:v>161.69999999999999</c:v>
                </c:pt>
                <c:pt idx="109">
                  <c:v>151.30000000000001</c:v>
                </c:pt>
                <c:pt idx="110">
                  <c:v>147.80000000000001</c:v>
                </c:pt>
                <c:pt idx="111">
                  <c:v>149.5</c:v>
                </c:pt>
                <c:pt idx="112">
                  <c:v>150.9</c:v>
                </c:pt>
                <c:pt idx="113">
                  <c:v>153.19999999999999</c:v>
                </c:pt>
                <c:pt idx="114">
                  <c:v>155.1</c:v>
                </c:pt>
                <c:pt idx="115">
                  <c:v>156</c:v>
                </c:pt>
                <c:pt idx="116">
                  <c:v>156.80000000000001</c:v>
                </c:pt>
                <c:pt idx="117">
                  <c:v>159.80000000000001</c:v>
                </c:pt>
                <c:pt idx="118">
                  <c:v>162.4</c:v>
                </c:pt>
                <c:pt idx="119">
                  <c:v>164.1</c:v>
                </c:pt>
                <c:pt idx="120">
                  <c:v>164.6</c:v>
                </c:pt>
                <c:pt idx="121" formatCode="#,##0.0">
                  <c:v>168.5</c:v>
                </c:pt>
                <c:pt idx="122" formatCode="#,##0.0">
                  <c:v>168</c:v>
                </c:pt>
                <c:pt idx="123" formatCode="#,##0.0">
                  <c:v>160.19999999999999</c:v>
                </c:pt>
                <c:pt idx="124" formatCode="#,##0.0">
                  <c:v>154</c:v>
                </c:pt>
                <c:pt idx="125" formatCode="#,##0.0">
                  <c:v>155.1</c:v>
                </c:pt>
                <c:pt idx="126" formatCode="#,##0.0">
                  <c:v>154</c:v>
                </c:pt>
                <c:pt idx="127" formatCode="#,##0.0">
                  <c:v>151.4</c:v>
                </c:pt>
                <c:pt idx="128" formatCode="#,##0.0">
                  <c:v>150.6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EA8-409E-AFC0-0B6739FC1EC5}"/>
            </c:ext>
          </c:extLst>
        </c:ser>
        <c:ser>
          <c:idx val="0"/>
          <c:order val="2"/>
          <c:tx>
            <c:strRef>
              <c:f>Sheet1!$D$2</c:f>
              <c:strCache>
                <c:ptCount val="1"/>
                <c:pt idx="0">
                  <c:v>Fernwärme</c:v>
                </c:pt>
              </c:strCache>
            </c:strRef>
          </c:tx>
          <c:spPr>
            <a:ln w="19050">
              <a:solidFill>
                <a:srgbClr val="7B0B6D"/>
              </a:solidFill>
              <a:prstDash val="solid"/>
            </a:ln>
          </c:spPr>
          <c:marker>
            <c:symbol val="none"/>
          </c:marker>
          <c:cat>
            <c:numRef>
              <c:f>Sheet1!$A$3:$A$186</c:f>
              <c:numCache>
                <c:formatCode>mm\/yy</c:formatCode>
                <c:ptCount val="184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  <c:pt idx="104">
                  <c:v>45170</c:v>
                </c:pt>
                <c:pt idx="105">
                  <c:v>45200</c:v>
                </c:pt>
                <c:pt idx="106">
                  <c:v>45231</c:v>
                </c:pt>
                <c:pt idx="107">
                  <c:v>45261</c:v>
                </c:pt>
                <c:pt idx="108">
                  <c:v>45292</c:v>
                </c:pt>
                <c:pt idx="109">
                  <c:v>45323</c:v>
                </c:pt>
                <c:pt idx="110">
                  <c:v>45352</c:v>
                </c:pt>
                <c:pt idx="111">
                  <c:v>45383</c:v>
                </c:pt>
                <c:pt idx="112">
                  <c:v>45413</c:v>
                </c:pt>
                <c:pt idx="113">
                  <c:v>45444</c:v>
                </c:pt>
                <c:pt idx="114">
                  <c:v>45474</c:v>
                </c:pt>
                <c:pt idx="115">
                  <c:v>45505</c:v>
                </c:pt>
                <c:pt idx="116">
                  <c:v>45536</c:v>
                </c:pt>
                <c:pt idx="117">
                  <c:v>45566</c:v>
                </c:pt>
                <c:pt idx="118">
                  <c:v>45597</c:v>
                </c:pt>
                <c:pt idx="119">
                  <c:v>45627</c:v>
                </c:pt>
                <c:pt idx="120">
                  <c:v>45658</c:v>
                </c:pt>
                <c:pt idx="121">
                  <c:v>45689</c:v>
                </c:pt>
                <c:pt idx="122">
                  <c:v>45717</c:v>
                </c:pt>
                <c:pt idx="123">
                  <c:v>45748</c:v>
                </c:pt>
                <c:pt idx="124">
                  <c:v>45778</c:v>
                </c:pt>
                <c:pt idx="125">
                  <c:v>45809</c:v>
                </c:pt>
                <c:pt idx="126">
                  <c:v>45839</c:v>
                </c:pt>
                <c:pt idx="127">
                  <c:v>45870</c:v>
                </c:pt>
                <c:pt idx="128">
                  <c:v>45901</c:v>
                </c:pt>
              </c:numCache>
            </c:numRef>
          </c:cat>
          <c:val>
            <c:numRef>
              <c:f>Sheet1!$D$3:$D$186</c:f>
              <c:numCache>
                <c:formatCode>General</c:formatCode>
                <c:ptCount val="184"/>
                <c:pt idx="0">
                  <c:v>104.5</c:v>
                </c:pt>
                <c:pt idx="1">
                  <c:v>104.3</c:v>
                </c:pt>
                <c:pt idx="2">
                  <c:v>104.2</c:v>
                </c:pt>
                <c:pt idx="3">
                  <c:v>103.1</c:v>
                </c:pt>
                <c:pt idx="4">
                  <c:v>103.1</c:v>
                </c:pt>
                <c:pt idx="5">
                  <c:v>103.1</c:v>
                </c:pt>
                <c:pt idx="6">
                  <c:v>102.1</c:v>
                </c:pt>
                <c:pt idx="7">
                  <c:v>102.1</c:v>
                </c:pt>
                <c:pt idx="8">
                  <c:v>102.1</c:v>
                </c:pt>
                <c:pt idx="9">
                  <c:v>101.4</c:v>
                </c:pt>
                <c:pt idx="10">
                  <c:v>101.4</c:v>
                </c:pt>
                <c:pt idx="11">
                  <c:v>101.4</c:v>
                </c:pt>
                <c:pt idx="12">
                  <c:v>100</c:v>
                </c:pt>
                <c:pt idx="13">
                  <c:v>99.6</c:v>
                </c:pt>
                <c:pt idx="14">
                  <c:v>99.6</c:v>
                </c:pt>
                <c:pt idx="15">
                  <c:v>97.7</c:v>
                </c:pt>
                <c:pt idx="16">
                  <c:v>97.6</c:v>
                </c:pt>
                <c:pt idx="17">
                  <c:v>97.6</c:v>
                </c:pt>
                <c:pt idx="18">
                  <c:v>96.3</c:v>
                </c:pt>
                <c:pt idx="19">
                  <c:v>95.8</c:v>
                </c:pt>
                <c:pt idx="20">
                  <c:v>95.8</c:v>
                </c:pt>
                <c:pt idx="21">
                  <c:v>94.8</c:v>
                </c:pt>
                <c:pt idx="22">
                  <c:v>94.7</c:v>
                </c:pt>
                <c:pt idx="23">
                  <c:v>94.7</c:v>
                </c:pt>
                <c:pt idx="24">
                  <c:v>93.4</c:v>
                </c:pt>
                <c:pt idx="25">
                  <c:v>93.5</c:v>
                </c:pt>
                <c:pt idx="26">
                  <c:v>93.3</c:v>
                </c:pt>
                <c:pt idx="27">
                  <c:v>93.8</c:v>
                </c:pt>
                <c:pt idx="28">
                  <c:v>93.8</c:v>
                </c:pt>
                <c:pt idx="29">
                  <c:v>93.8</c:v>
                </c:pt>
                <c:pt idx="30">
                  <c:v>94.2</c:v>
                </c:pt>
                <c:pt idx="31">
                  <c:v>94.2</c:v>
                </c:pt>
                <c:pt idx="32">
                  <c:v>94.3</c:v>
                </c:pt>
                <c:pt idx="33">
                  <c:v>94.4</c:v>
                </c:pt>
                <c:pt idx="34">
                  <c:v>94.4</c:v>
                </c:pt>
                <c:pt idx="35">
                  <c:v>94.3</c:v>
                </c:pt>
                <c:pt idx="36">
                  <c:v>94.9</c:v>
                </c:pt>
                <c:pt idx="37">
                  <c:v>94.9</c:v>
                </c:pt>
                <c:pt idx="38">
                  <c:v>94.9</c:v>
                </c:pt>
                <c:pt idx="39">
                  <c:v>95.5</c:v>
                </c:pt>
                <c:pt idx="40">
                  <c:v>95.6</c:v>
                </c:pt>
                <c:pt idx="41">
                  <c:v>95.6</c:v>
                </c:pt>
                <c:pt idx="42">
                  <c:v>96.1</c:v>
                </c:pt>
                <c:pt idx="43">
                  <c:v>96.3</c:v>
                </c:pt>
                <c:pt idx="44">
                  <c:v>96.4</c:v>
                </c:pt>
                <c:pt idx="45">
                  <c:v>97.3</c:v>
                </c:pt>
                <c:pt idx="46">
                  <c:v>97.5</c:v>
                </c:pt>
                <c:pt idx="47">
                  <c:v>97.5</c:v>
                </c:pt>
                <c:pt idx="48">
                  <c:v>99.2</c:v>
                </c:pt>
                <c:pt idx="49">
                  <c:v>99.6</c:v>
                </c:pt>
                <c:pt idx="50">
                  <c:v>99.9</c:v>
                </c:pt>
                <c:pt idx="51">
                  <c:v>100.6</c:v>
                </c:pt>
                <c:pt idx="52">
                  <c:v>100.9</c:v>
                </c:pt>
                <c:pt idx="53">
                  <c:v>101</c:v>
                </c:pt>
                <c:pt idx="54">
                  <c:v>100.8</c:v>
                </c:pt>
                <c:pt idx="55">
                  <c:v>101</c:v>
                </c:pt>
                <c:pt idx="56">
                  <c:v>101</c:v>
                </c:pt>
                <c:pt idx="57">
                  <c:v>100.8</c:v>
                </c:pt>
                <c:pt idx="58">
                  <c:v>100.8</c:v>
                </c:pt>
                <c:pt idx="59">
                  <c:v>100.8</c:v>
                </c:pt>
                <c:pt idx="60">
                  <c:v>100.9</c:v>
                </c:pt>
                <c:pt idx="61">
                  <c:v>100.9</c:v>
                </c:pt>
                <c:pt idx="62">
                  <c:v>101</c:v>
                </c:pt>
                <c:pt idx="63">
                  <c:v>100.6</c:v>
                </c:pt>
                <c:pt idx="64">
                  <c:v>100.5</c:v>
                </c:pt>
                <c:pt idx="65">
                  <c:v>100.5</c:v>
                </c:pt>
                <c:pt idx="66">
                  <c:v>100.2</c:v>
                </c:pt>
                <c:pt idx="67">
                  <c:v>100.1</c:v>
                </c:pt>
                <c:pt idx="68">
                  <c:v>100.1</c:v>
                </c:pt>
                <c:pt idx="69">
                  <c:v>98.8</c:v>
                </c:pt>
                <c:pt idx="70">
                  <c:v>98.6</c:v>
                </c:pt>
                <c:pt idx="71">
                  <c:v>98.9</c:v>
                </c:pt>
                <c:pt idx="72">
                  <c:v>97.8</c:v>
                </c:pt>
                <c:pt idx="73">
                  <c:v>98</c:v>
                </c:pt>
                <c:pt idx="74">
                  <c:v>98.1</c:v>
                </c:pt>
                <c:pt idx="75">
                  <c:v>98.4</c:v>
                </c:pt>
                <c:pt idx="76">
                  <c:v>98.4</c:v>
                </c:pt>
                <c:pt idx="77">
                  <c:v>98.3</c:v>
                </c:pt>
                <c:pt idx="78">
                  <c:v>99.5</c:v>
                </c:pt>
                <c:pt idx="79">
                  <c:v>99.8</c:v>
                </c:pt>
                <c:pt idx="80">
                  <c:v>100.1</c:v>
                </c:pt>
                <c:pt idx="81">
                  <c:v>102.9</c:v>
                </c:pt>
                <c:pt idx="82">
                  <c:v>104.3</c:v>
                </c:pt>
                <c:pt idx="83">
                  <c:v>104.3</c:v>
                </c:pt>
                <c:pt idx="84">
                  <c:v>112.1</c:v>
                </c:pt>
                <c:pt idx="85">
                  <c:v>113.4</c:v>
                </c:pt>
                <c:pt idx="86">
                  <c:v>114.6</c:v>
                </c:pt>
                <c:pt idx="87">
                  <c:v>122.1</c:v>
                </c:pt>
                <c:pt idx="88">
                  <c:v>122.9</c:v>
                </c:pt>
                <c:pt idx="89">
                  <c:v>125.7</c:v>
                </c:pt>
                <c:pt idx="90">
                  <c:v>134.6</c:v>
                </c:pt>
                <c:pt idx="91">
                  <c:v>136.69999999999999</c:v>
                </c:pt>
                <c:pt idx="92">
                  <c:v>137.1</c:v>
                </c:pt>
                <c:pt idx="93">
                  <c:v>156.30000000000001</c:v>
                </c:pt>
                <c:pt idx="94">
                  <c:v>159.4</c:v>
                </c:pt>
                <c:pt idx="95">
                  <c:v>159.6</c:v>
                </c:pt>
                <c:pt idx="96">
                  <c:v>167.7</c:v>
                </c:pt>
                <c:pt idx="97">
                  <c:v>155.80000000000001</c:v>
                </c:pt>
                <c:pt idx="98">
                  <c:v>157.5</c:v>
                </c:pt>
                <c:pt idx="99">
                  <c:v>162.19999999999999</c:v>
                </c:pt>
                <c:pt idx="100">
                  <c:v>162.1</c:v>
                </c:pt>
                <c:pt idx="101">
                  <c:v>162.30000000000001</c:v>
                </c:pt>
                <c:pt idx="102">
                  <c:v>161.80000000000001</c:v>
                </c:pt>
                <c:pt idx="103">
                  <c:v>161.1</c:v>
                </c:pt>
                <c:pt idx="104">
                  <c:v>161.19999999999999</c:v>
                </c:pt>
                <c:pt idx="105">
                  <c:v>159.6</c:v>
                </c:pt>
                <c:pt idx="106">
                  <c:v>160.1</c:v>
                </c:pt>
                <c:pt idx="107">
                  <c:v>160.1</c:v>
                </c:pt>
                <c:pt idx="108">
                  <c:v>187.7</c:v>
                </c:pt>
                <c:pt idx="109">
                  <c:v>188.1</c:v>
                </c:pt>
                <c:pt idx="110">
                  <c:v>188.6</c:v>
                </c:pt>
                <c:pt idx="111">
                  <c:v>184.8</c:v>
                </c:pt>
                <c:pt idx="112">
                  <c:v>185.4</c:v>
                </c:pt>
                <c:pt idx="113">
                  <c:v>185</c:v>
                </c:pt>
                <c:pt idx="114">
                  <c:v>189.7</c:v>
                </c:pt>
                <c:pt idx="115">
                  <c:v>189.3</c:v>
                </c:pt>
                <c:pt idx="116">
                  <c:v>190.4</c:v>
                </c:pt>
                <c:pt idx="117">
                  <c:v>188.2</c:v>
                </c:pt>
                <c:pt idx="118">
                  <c:v>187.7</c:v>
                </c:pt>
                <c:pt idx="119">
                  <c:v>187.7</c:v>
                </c:pt>
                <c:pt idx="120">
                  <c:v>184.9</c:v>
                </c:pt>
                <c:pt idx="121" formatCode="#,##0.0">
                  <c:v>185</c:v>
                </c:pt>
                <c:pt idx="122" formatCode="#,##0.0">
                  <c:v>185</c:v>
                </c:pt>
                <c:pt idx="123" formatCode="#,##0.0">
                  <c:v>184.6</c:v>
                </c:pt>
                <c:pt idx="124" formatCode="#,##0.0">
                  <c:v>184.4</c:v>
                </c:pt>
                <c:pt idx="125" formatCode="#,##0.0">
                  <c:v>184.4</c:v>
                </c:pt>
                <c:pt idx="126" formatCode="#,##0.0">
                  <c:v>185.8</c:v>
                </c:pt>
                <c:pt idx="127" formatCode="#,##0.0">
                  <c:v>185.8</c:v>
                </c:pt>
                <c:pt idx="128" formatCode="#,##0.0">
                  <c:v>185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A8-409E-AFC0-0B6739FC1EC5}"/>
            </c:ext>
          </c:extLst>
        </c:ser>
        <c:ser>
          <c:idx val="2"/>
          <c:order val="3"/>
          <c:tx>
            <c:strRef>
              <c:f>Sheet1!$E$2</c:f>
              <c:strCache>
                <c:ptCount val="1"/>
                <c:pt idx="0">
                  <c:v>Heizöl</c:v>
                </c:pt>
              </c:strCache>
            </c:strRef>
          </c:tx>
          <c:spPr>
            <a:ln w="19050">
              <a:solidFill>
                <a:srgbClr val="477390"/>
              </a:solidFill>
              <a:prstDash val="solid"/>
            </a:ln>
          </c:spPr>
          <c:marker>
            <c:symbol val="none"/>
          </c:marker>
          <c:cat>
            <c:numRef>
              <c:f>Sheet1!$A$3:$A$186</c:f>
              <c:numCache>
                <c:formatCode>mm\/yy</c:formatCode>
                <c:ptCount val="184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  <c:pt idx="104">
                  <c:v>45170</c:v>
                </c:pt>
                <c:pt idx="105">
                  <c:v>45200</c:v>
                </c:pt>
                <c:pt idx="106">
                  <c:v>45231</c:v>
                </c:pt>
                <c:pt idx="107">
                  <c:v>45261</c:v>
                </c:pt>
                <c:pt idx="108">
                  <c:v>45292</c:v>
                </c:pt>
                <c:pt idx="109">
                  <c:v>45323</c:v>
                </c:pt>
                <c:pt idx="110">
                  <c:v>45352</c:v>
                </c:pt>
                <c:pt idx="111">
                  <c:v>45383</c:v>
                </c:pt>
                <c:pt idx="112">
                  <c:v>45413</c:v>
                </c:pt>
                <c:pt idx="113">
                  <c:v>45444</c:v>
                </c:pt>
                <c:pt idx="114">
                  <c:v>45474</c:v>
                </c:pt>
                <c:pt idx="115">
                  <c:v>45505</c:v>
                </c:pt>
                <c:pt idx="116">
                  <c:v>45536</c:v>
                </c:pt>
                <c:pt idx="117">
                  <c:v>45566</c:v>
                </c:pt>
                <c:pt idx="118">
                  <c:v>45597</c:v>
                </c:pt>
                <c:pt idx="119">
                  <c:v>45627</c:v>
                </c:pt>
                <c:pt idx="120">
                  <c:v>45658</c:v>
                </c:pt>
                <c:pt idx="121">
                  <c:v>45689</c:v>
                </c:pt>
                <c:pt idx="122">
                  <c:v>45717</c:v>
                </c:pt>
                <c:pt idx="123">
                  <c:v>45748</c:v>
                </c:pt>
                <c:pt idx="124">
                  <c:v>45778</c:v>
                </c:pt>
                <c:pt idx="125">
                  <c:v>45809</c:v>
                </c:pt>
                <c:pt idx="126">
                  <c:v>45839</c:v>
                </c:pt>
                <c:pt idx="127">
                  <c:v>45870</c:v>
                </c:pt>
                <c:pt idx="128">
                  <c:v>45901</c:v>
                </c:pt>
              </c:numCache>
            </c:numRef>
          </c:cat>
          <c:val>
            <c:numRef>
              <c:f>Sheet1!$E$3:$E$186</c:f>
              <c:numCache>
                <c:formatCode>General</c:formatCode>
                <c:ptCount val="184"/>
                <c:pt idx="0">
                  <c:v>74.2</c:v>
                </c:pt>
                <c:pt idx="1">
                  <c:v>90.2</c:v>
                </c:pt>
                <c:pt idx="2">
                  <c:v>86.2</c:v>
                </c:pt>
                <c:pt idx="3">
                  <c:v>90.4</c:v>
                </c:pt>
                <c:pt idx="4">
                  <c:v>92.6</c:v>
                </c:pt>
                <c:pt idx="5">
                  <c:v>89</c:v>
                </c:pt>
                <c:pt idx="6">
                  <c:v>85.2</c:v>
                </c:pt>
                <c:pt idx="7">
                  <c:v>78.5</c:v>
                </c:pt>
                <c:pt idx="8">
                  <c:v>76.599999999999994</c:v>
                </c:pt>
                <c:pt idx="9">
                  <c:v>75</c:v>
                </c:pt>
                <c:pt idx="10">
                  <c:v>75.5</c:v>
                </c:pt>
                <c:pt idx="11">
                  <c:v>61.2</c:v>
                </c:pt>
                <c:pt idx="12">
                  <c:v>54.4</c:v>
                </c:pt>
                <c:pt idx="13">
                  <c:v>56.4</c:v>
                </c:pt>
                <c:pt idx="14">
                  <c:v>62.7</c:v>
                </c:pt>
                <c:pt idx="15">
                  <c:v>64.2</c:v>
                </c:pt>
                <c:pt idx="16">
                  <c:v>71.099999999999994</c:v>
                </c:pt>
                <c:pt idx="17">
                  <c:v>71.5</c:v>
                </c:pt>
                <c:pt idx="18">
                  <c:v>68</c:v>
                </c:pt>
                <c:pt idx="19">
                  <c:v>69.8</c:v>
                </c:pt>
                <c:pt idx="20">
                  <c:v>68.2</c:v>
                </c:pt>
                <c:pt idx="21">
                  <c:v>77.8</c:v>
                </c:pt>
                <c:pt idx="22">
                  <c:v>71.900000000000006</c:v>
                </c:pt>
                <c:pt idx="23">
                  <c:v>82.7</c:v>
                </c:pt>
                <c:pt idx="24">
                  <c:v>82.2</c:v>
                </c:pt>
                <c:pt idx="25">
                  <c:v>83.6</c:v>
                </c:pt>
                <c:pt idx="26">
                  <c:v>78.3</c:v>
                </c:pt>
                <c:pt idx="27">
                  <c:v>82.5</c:v>
                </c:pt>
                <c:pt idx="28">
                  <c:v>77.400000000000006</c:v>
                </c:pt>
                <c:pt idx="29">
                  <c:v>71.8</c:v>
                </c:pt>
                <c:pt idx="30">
                  <c:v>73.5</c:v>
                </c:pt>
                <c:pt idx="31">
                  <c:v>73.7</c:v>
                </c:pt>
                <c:pt idx="32">
                  <c:v>78.900000000000006</c:v>
                </c:pt>
                <c:pt idx="33">
                  <c:v>80.8</c:v>
                </c:pt>
                <c:pt idx="34">
                  <c:v>82.9</c:v>
                </c:pt>
                <c:pt idx="35">
                  <c:v>84.7</c:v>
                </c:pt>
                <c:pt idx="36">
                  <c:v>88.1</c:v>
                </c:pt>
                <c:pt idx="37">
                  <c:v>82.3</c:v>
                </c:pt>
                <c:pt idx="38">
                  <c:v>84.1</c:v>
                </c:pt>
                <c:pt idx="39">
                  <c:v>90.1</c:v>
                </c:pt>
                <c:pt idx="40">
                  <c:v>97.9</c:v>
                </c:pt>
                <c:pt idx="41">
                  <c:v>95.8</c:v>
                </c:pt>
                <c:pt idx="42">
                  <c:v>94.5</c:v>
                </c:pt>
                <c:pt idx="43">
                  <c:v>98.2</c:v>
                </c:pt>
                <c:pt idx="44">
                  <c:v>106</c:v>
                </c:pt>
                <c:pt idx="45">
                  <c:v>111.3</c:v>
                </c:pt>
                <c:pt idx="46">
                  <c:v>113.7</c:v>
                </c:pt>
                <c:pt idx="47">
                  <c:v>93.6</c:v>
                </c:pt>
                <c:pt idx="48">
                  <c:v>90.6</c:v>
                </c:pt>
                <c:pt idx="49">
                  <c:v>95.3</c:v>
                </c:pt>
                <c:pt idx="50">
                  <c:v>94.5</c:v>
                </c:pt>
                <c:pt idx="51">
                  <c:v>97.5</c:v>
                </c:pt>
                <c:pt idx="52">
                  <c:v>99.2</c:v>
                </c:pt>
                <c:pt idx="53">
                  <c:v>91</c:v>
                </c:pt>
                <c:pt idx="54">
                  <c:v>94.3</c:v>
                </c:pt>
                <c:pt idx="55">
                  <c:v>91</c:v>
                </c:pt>
                <c:pt idx="56">
                  <c:v>97.9</c:v>
                </c:pt>
                <c:pt idx="57">
                  <c:v>93.2</c:v>
                </c:pt>
                <c:pt idx="58">
                  <c:v>92.3</c:v>
                </c:pt>
                <c:pt idx="59">
                  <c:v>94.3</c:v>
                </c:pt>
                <c:pt idx="60">
                  <c:v>91.2</c:v>
                </c:pt>
                <c:pt idx="61">
                  <c:v>85.8</c:v>
                </c:pt>
                <c:pt idx="62">
                  <c:v>67.099999999999994</c:v>
                </c:pt>
                <c:pt idx="63">
                  <c:v>60.7</c:v>
                </c:pt>
                <c:pt idx="64">
                  <c:v>57.9</c:v>
                </c:pt>
                <c:pt idx="65">
                  <c:v>60.7</c:v>
                </c:pt>
                <c:pt idx="66">
                  <c:v>63.3</c:v>
                </c:pt>
                <c:pt idx="67">
                  <c:v>62.3</c:v>
                </c:pt>
                <c:pt idx="68">
                  <c:v>55.8</c:v>
                </c:pt>
                <c:pt idx="69">
                  <c:v>59.4</c:v>
                </c:pt>
                <c:pt idx="70">
                  <c:v>59.3</c:v>
                </c:pt>
                <c:pt idx="71">
                  <c:v>66.900000000000006</c:v>
                </c:pt>
                <c:pt idx="72">
                  <c:v>81.7</c:v>
                </c:pt>
                <c:pt idx="73">
                  <c:v>89.2</c:v>
                </c:pt>
                <c:pt idx="74">
                  <c:v>93.7</c:v>
                </c:pt>
                <c:pt idx="75">
                  <c:v>91.4</c:v>
                </c:pt>
                <c:pt idx="76">
                  <c:v>93.9</c:v>
                </c:pt>
                <c:pt idx="77">
                  <c:v>97.6</c:v>
                </c:pt>
                <c:pt idx="78">
                  <c:v>100.7</c:v>
                </c:pt>
                <c:pt idx="79">
                  <c:v>98.2</c:v>
                </c:pt>
                <c:pt idx="80">
                  <c:v>103.2</c:v>
                </c:pt>
                <c:pt idx="81">
                  <c:v>120.8</c:v>
                </c:pt>
                <c:pt idx="82">
                  <c:v>117.4</c:v>
                </c:pt>
                <c:pt idx="83">
                  <c:v>112.3</c:v>
                </c:pt>
                <c:pt idx="84">
                  <c:v>125.9</c:v>
                </c:pt>
                <c:pt idx="85">
                  <c:v>136.80000000000001</c:v>
                </c:pt>
                <c:pt idx="86">
                  <c:v>216.2</c:v>
                </c:pt>
                <c:pt idx="87">
                  <c:v>181.1</c:v>
                </c:pt>
                <c:pt idx="88">
                  <c:v>178.7</c:v>
                </c:pt>
                <c:pt idx="89">
                  <c:v>212.6</c:v>
                </c:pt>
                <c:pt idx="90">
                  <c:v>205.8</c:v>
                </c:pt>
                <c:pt idx="91">
                  <c:v>196.7</c:v>
                </c:pt>
                <c:pt idx="92">
                  <c:v>189.8</c:v>
                </c:pt>
                <c:pt idx="93">
                  <c:v>209.1</c:v>
                </c:pt>
                <c:pt idx="94">
                  <c:v>175.7</c:v>
                </c:pt>
                <c:pt idx="95">
                  <c:v>164.1</c:v>
                </c:pt>
                <c:pt idx="96">
                  <c:v>159.9</c:v>
                </c:pt>
                <c:pt idx="97">
                  <c:v>148.69999999999999</c:v>
                </c:pt>
                <c:pt idx="98">
                  <c:v>141.1</c:v>
                </c:pt>
                <c:pt idx="99">
                  <c:v>136.80000000000001</c:v>
                </c:pt>
                <c:pt idx="100">
                  <c:v>122.9</c:v>
                </c:pt>
                <c:pt idx="101">
                  <c:v>126.4</c:v>
                </c:pt>
                <c:pt idx="102">
                  <c:v>130.19999999999999</c:v>
                </c:pt>
                <c:pt idx="103">
                  <c:v>150.4</c:v>
                </c:pt>
                <c:pt idx="104">
                  <c:v>166.7</c:v>
                </c:pt>
                <c:pt idx="105">
                  <c:v>163</c:v>
                </c:pt>
                <c:pt idx="106">
                  <c:v>148.19999999999999</c:v>
                </c:pt>
                <c:pt idx="107">
                  <c:v>141.4</c:v>
                </c:pt>
                <c:pt idx="108">
                  <c:v>143.4</c:v>
                </c:pt>
                <c:pt idx="109">
                  <c:v>151.1</c:v>
                </c:pt>
                <c:pt idx="110">
                  <c:v>147.1</c:v>
                </c:pt>
                <c:pt idx="111">
                  <c:v>149.1</c:v>
                </c:pt>
                <c:pt idx="112">
                  <c:v>138.30000000000001</c:v>
                </c:pt>
                <c:pt idx="113">
                  <c:v>141.5</c:v>
                </c:pt>
                <c:pt idx="114">
                  <c:v>139.30000000000001</c:v>
                </c:pt>
                <c:pt idx="115">
                  <c:v>133.6</c:v>
                </c:pt>
                <c:pt idx="116">
                  <c:v>122.7</c:v>
                </c:pt>
                <c:pt idx="117">
                  <c:v>128.19999999999999</c:v>
                </c:pt>
                <c:pt idx="118">
                  <c:v>129.6</c:v>
                </c:pt>
                <c:pt idx="119">
                  <c:v>133.4</c:v>
                </c:pt>
                <c:pt idx="120">
                  <c:v>145.5</c:v>
                </c:pt>
                <c:pt idx="121" formatCode="#,##0.0">
                  <c:v>139.19999999999999</c:v>
                </c:pt>
                <c:pt idx="122" formatCode="#,##0.0">
                  <c:v>129.30000000000001</c:v>
                </c:pt>
                <c:pt idx="123" formatCode="#,##0.0">
                  <c:v>125.4</c:v>
                </c:pt>
                <c:pt idx="124" formatCode="#,##0.0">
                  <c:v>124</c:v>
                </c:pt>
                <c:pt idx="125" formatCode="#,##0.0">
                  <c:v>132.6</c:v>
                </c:pt>
                <c:pt idx="126" formatCode="#,##0.0">
                  <c:v>132.1</c:v>
                </c:pt>
                <c:pt idx="127" formatCode="#,##0.0">
                  <c:v>124.9</c:v>
                </c:pt>
                <c:pt idx="128" formatCode="#,##0.0">
                  <c:v>129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EA8-409E-AFC0-0B6739FC1E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1361408"/>
        <c:axId val="171362944"/>
      </c:lineChart>
      <c:dateAx>
        <c:axId val="171361408"/>
        <c:scaling>
          <c:orientation val="minMax"/>
        </c:scaling>
        <c:delete val="0"/>
        <c:axPos val="b"/>
        <c:majorGridlines>
          <c:spPr>
            <a:ln w="6350">
              <a:solidFill>
                <a:srgbClr val="B5C0C9"/>
              </a:solidFill>
            </a:ln>
          </c:spPr>
        </c:majorGridlines>
        <c:numFmt formatCode="mm\/yy" sourceLinked="0"/>
        <c:majorTickMark val="out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050" b="0">
                <a:latin typeface="+mj-lt"/>
              </a:defRPr>
            </a:pPr>
            <a:endParaRPr lang="de-DE"/>
          </a:p>
        </c:txPr>
        <c:crossAx val="171362944"/>
        <c:crosses val="autoZero"/>
        <c:auto val="1"/>
        <c:lblOffset val="100"/>
        <c:baseTimeUnit val="months"/>
        <c:majorUnit val="1"/>
        <c:majorTimeUnit val="years"/>
      </c:dateAx>
      <c:valAx>
        <c:axId val="171362944"/>
        <c:scaling>
          <c:orientation val="minMax"/>
        </c:scaling>
        <c:delete val="0"/>
        <c:axPos val="l"/>
        <c:majorGridlines>
          <c:spPr>
            <a:ln w="6350">
              <a:solidFill>
                <a:srgbClr val="B5C0C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j-lt"/>
                <a:ea typeface="Arial"/>
                <a:cs typeface="Arial"/>
              </a:defRPr>
            </a:pPr>
            <a:endParaRPr lang="de-DE"/>
          </a:p>
        </c:txPr>
        <c:crossAx val="171361408"/>
        <c:crosses val="autoZero"/>
        <c:crossBetween val="between"/>
      </c:valAx>
      <c:spPr>
        <a:noFill/>
        <a:ln w="952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72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102985287616533E-2"/>
          <c:y val="0.12510493979034515"/>
          <c:w val="0.90775853058210509"/>
          <c:h val="0.76473925090995831"/>
        </c:manualLayout>
      </c:layout>
      <c:lineChart>
        <c:grouping val="standar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Index</c:v>
                </c:pt>
              </c:strCache>
            </c:strRef>
          </c:tx>
          <c:spPr>
            <a:ln w="25400">
              <a:solidFill>
                <a:srgbClr val="FF7F24"/>
              </a:solidFill>
              <a:prstDash val="solid"/>
            </a:ln>
          </c:spPr>
          <c:marker>
            <c:symbol val="none"/>
          </c:marker>
          <c:dLbls>
            <c:dLbl>
              <c:idx val="1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1A6-46C6-9295-C7D85F5F92E8}"/>
                </c:ext>
              </c:extLst>
            </c:dLbl>
            <c:dLbl>
              <c:idx val="24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BCD-48EB-9012-D4B86845E25C}"/>
                </c:ext>
              </c:extLst>
            </c:dLbl>
            <c:dLbl>
              <c:idx val="36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1A6-46C6-9295-C7D85F5F92E8}"/>
                </c:ext>
              </c:extLst>
            </c:dLbl>
            <c:dLbl>
              <c:idx val="48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BCD-48EB-9012-D4B86845E25C}"/>
                </c:ext>
              </c:extLst>
            </c:dLbl>
            <c:dLbl>
              <c:idx val="6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1A6-46C6-9295-C7D85F5F92E8}"/>
                </c:ext>
              </c:extLst>
            </c:dLbl>
            <c:dLbl>
              <c:idx val="7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BCD-48EB-9012-D4B86845E25C}"/>
                </c:ext>
              </c:extLst>
            </c:dLbl>
            <c:dLbl>
              <c:idx val="84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1A6-46C6-9295-C7D85F5F92E8}"/>
                </c:ext>
              </c:extLst>
            </c:dLbl>
            <c:dLbl>
              <c:idx val="92"/>
              <c:layout>
                <c:manualLayout>
                  <c:x val="-3.2828223453912488E-2"/>
                  <c:y val="-4.508766776564205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rgbClr val="FF7415"/>
                      </a:solidFill>
                      <a:latin typeface="+mj-lt"/>
                    </a:defRPr>
                  </a:pPr>
                  <a:endParaRPr lang="de-DE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593-4E02-A447-0CB537835338}"/>
                </c:ext>
              </c:extLst>
            </c:dLbl>
            <c:dLbl>
              <c:idx val="96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BCD-48EB-9012-D4B86845E25C}"/>
                </c:ext>
              </c:extLst>
            </c:dLbl>
            <c:dLbl>
              <c:idx val="108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BCD-48EB-9012-D4B86845E25C}"/>
                </c:ext>
              </c:extLst>
            </c:dLbl>
            <c:dLbl>
              <c:idx val="12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1A6-46C6-9295-C7D85F5F92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latin typeface="+mj-lt"/>
                  </a:defRPr>
                </a:pPr>
                <a:endParaRPr lang="de-DE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>
                      <a:solidFill>
                        <a:schemeClr val="bg2"/>
                      </a:solidFill>
                      <a:prstDash val="dash"/>
                    </a:ln>
                  </c:spPr>
                </c15:leaderLines>
              </c:ext>
            </c:extLst>
          </c:dLbls>
          <c:cat>
            <c:numRef>
              <c:f>Sheet1!$A$50:$A$176</c:f>
              <c:numCache>
                <c:formatCode>mmm\-yy</c:formatCode>
                <c:ptCount val="127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  <c:pt idx="104">
                  <c:v>45170</c:v>
                </c:pt>
                <c:pt idx="105">
                  <c:v>45200</c:v>
                </c:pt>
                <c:pt idx="106">
                  <c:v>45231</c:v>
                </c:pt>
                <c:pt idx="107">
                  <c:v>45261</c:v>
                </c:pt>
                <c:pt idx="108">
                  <c:v>45292</c:v>
                </c:pt>
                <c:pt idx="109">
                  <c:v>45323</c:v>
                </c:pt>
                <c:pt idx="110">
                  <c:v>45352</c:v>
                </c:pt>
                <c:pt idx="111">
                  <c:v>45383</c:v>
                </c:pt>
                <c:pt idx="112">
                  <c:v>45413</c:v>
                </c:pt>
                <c:pt idx="113">
                  <c:v>45444</c:v>
                </c:pt>
                <c:pt idx="114">
                  <c:v>45474</c:v>
                </c:pt>
                <c:pt idx="115">
                  <c:v>45505</c:v>
                </c:pt>
                <c:pt idx="116">
                  <c:v>45536</c:v>
                </c:pt>
                <c:pt idx="117">
                  <c:v>45566</c:v>
                </c:pt>
                <c:pt idx="118">
                  <c:v>45597</c:v>
                </c:pt>
                <c:pt idx="119">
                  <c:v>45627</c:v>
                </c:pt>
                <c:pt idx="120">
                  <c:v>45658</c:v>
                </c:pt>
                <c:pt idx="121">
                  <c:v>45689</c:v>
                </c:pt>
                <c:pt idx="122">
                  <c:v>45717</c:v>
                </c:pt>
                <c:pt idx="123">
                  <c:v>45748</c:v>
                </c:pt>
                <c:pt idx="124">
                  <c:v>45778</c:v>
                </c:pt>
                <c:pt idx="125">
                  <c:v>45809</c:v>
                </c:pt>
                <c:pt idx="126">
                  <c:v>45839</c:v>
                </c:pt>
              </c:numCache>
            </c:numRef>
          </c:cat>
          <c:val>
            <c:numRef>
              <c:f>Sheet1!$B$50:$B$176</c:f>
              <c:numCache>
                <c:formatCode>0.0</c:formatCode>
                <c:ptCount val="127"/>
                <c:pt idx="0">
                  <c:v>99.891642277740075</c:v>
                </c:pt>
                <c:pt idx="1">
                  <c:v>100.5114079415071</c:v>
                </c:pt>
                <c:pt idx="2">
                  <c:v>100.6207783527601</c:v>
                </c:pt>
                <c:pt idx="3">
                  <c:v>100.21975351149911</c:v>
                </c:pt>
                <c:pt idx="4">
                  <c:v>99.818728670238102</c:v>
                </c:pt>
                <c:pt idx="5">
                  <c:v>99.551378776064098</c:v>
                </c:pt>
                <c:pt idx="6">
                  <c:v>99.782271866487093</c:v>
                </c:pt>
                <c:pt idx="7">
                  <c:v>99.344790221475094</c:v>
                </c:pt>
                <c:pt idx="8">
                  <c:v>98.65211095020608</c:v>
                </c:pt>
                <c:pt idx="9">
                  <c:v>98.323999716447091</c:v>
                </c:pt>
                <c:pt idx="10">
                  <c:v>101.42282803528209</c:v>
                </c:pt>
                <c:pt idx="11">
                  <c:v>101.86030968029409</c:v>
                </c:pt>
                <c:pt idx="12">
                  <c:v>100.6936919602621</c:v>
                </c:pt>
                <c:pt idx="13">
                  <c:v>98.834394968961078</c:v>
                </c:pt>
                <c:pt idx="14">
                  <c:v>97.63132044517809</c:v>
                </c:pt>
                <c:pt idx="15">
                  <c:v>97.959431678937079</c:v>
                </c:pt>
                <c:pt idx="16">
                  <c:v>98.943765380214089</c:v>
                </c:pt>
                <c:pt idx="17">
                  <c:v>100.9488895865191</c:v>
                </c:pt>
                <c:pt idx="18">
                  <c:v>101.3134576240291</c:v>
                </c:pt>
                <c:pt idx="19">
                  <c:v>101.78739607279211</c:v>
                </c:pt>
                <c:pt idx="20">
                  <c:v>101.6415688577881</c:v>
                </c:pt>
                <c:pt idx="21">
                  <c:v>106.2837352020821</c:v>
                </c:pt>
                <c:pt idx="22">
                  <c:v>111.41199226305611</c:v>
                </c:pt>
                <c:pt idx="23">
                  <c:v>110.3912017580281</c:v>
                </c:pt>
                <c:pt idx="24">
                  <c:v>112.7244371980921</c:v>
                </c:pt>
                <c:pt idx="25">
                  <c:v>113.7816845068711</c:v>
                </c:pt>
                <c:pt idx="26">
                  <c:v>113.1619188431041</c:v>
                </c:pt>
                <c:pt idx="27">
                  <c:v>112.0682147305741</c:v>
                </c:pt>
                <c:pt idx="28">
                  <c:v>112.48139183975211</c:v>
                </c:pt>
                <c:pt idx="29">
                  <c:v>113.1619188431041</c:v>
                </c:pt>
                <c:pt idx="30">
                  <c:v>112.9431780205981</c:v>
                </c:pt>
                <c:pt idx="31">
                  <c:v>112.6515235905901</c:v>
                </c:pt>
                <c:pt idx="32">
                  <c:v>114.2920797593851</c:v>
                </c:pt>
                <c:pt idx="33">
                  <c:v>115.2764134606621</c:v>
                </c:pt>
                <c:pt idx="34">
                  <c:v>114.1097957406301</c:v>
                </c:pt>
                <c:pt idx="35">
                  <c:v>113.9639685256261</c:v>
                </c:pt>
                <c:pt idx="36">
                  <c:v>113.9639685256261</c:v>
                </c:pt>
                <c:pt idx="37">
                  <c:v>113.0160916281001</c:v>
                </c:pt>
                <c:pt idx="38">
                  <c:v>112.79735080559411</c:v>
                </c:pt>
                <c:pt idx="39">
                  <c:v>114.18270934813209</c:v>
                </c:pt>
                <c:pt idx="40">
                  <c:v>116.5888583956981</c:v>
                </c:pt>
                <c:pt idx="41">
                  <c:v>119.0679210507661</c:v>
                </c:pt>
                <c:pt idx="42">
                  <c:v>119.8699707332881</c:v>
                </c:pt>
                <c:pt idx="43">
                  <c:v>120.41682278955309</c:v>
                </c:pt>
                <c:pt idx="44">
                  <c:v>124.49998480966509</c:v>
                </c:pt>
                <c:pt idx="45">
                  <c:v>127.8661630226741</c:v>
                </c:pt>
                <c:pt idx="46">
                  <c:v>125.63014572594609</c:v>
                </c:pt>
                <c:pt idx="47">
                  <c:v>126.6144794272231</c:v>
                </c:pt>
                <c:pt idx="48">
                  <c:v>126.8696770534801</c:v>
                </c:pt>
                <c:pt idx="49">
                  <c:v>124.93746645467709</c:v>
                </c:pt>
                <c:pt idx="50">
                  <c:v>122.8958854446211</c:v>
                </c:pt>
                <c:pt idx="51">
                  <c:v>122.54346967502811</c:v>
                </c:pt>
                <c:pt idx="52">
                  <c:v>122.4948606033601</c:v>
                </c:pt>
                <c:pt idx="53">
                  <c:v>120.59910680830809</c:v>
                </c:pt>
                <c:pt idx="54">
                  <c:v>121.9480085470951</c:v>
                </c:pt>
                <c:pt idx="55">
                  <c:v>122.93234224837209</c:v>
                </c:pt>
                <c:pt idx="56">
                  <c:v>121.5226791700001</c:v>
                </c:pt>
                <c:pt idx="57">
                  <c:v>123.0052558558741</c:v>
                </c:pt>
                <c:pt idx="58">
                  <c:v>124.3177007909101</c:v>
                </c:pt>
                <c:pt idx="59">
                  <c:v>123.98958955715111</c:v>
                </c:pt>
                <c:pt idx="60">
                  <c:v>123.4062806971351</c:v>
                </c:pt>
                <c:pt idx="61">
                  <c:v>120.8178476308141</c:v>
                </c:pt>
                <c:pt idx="62">
                  <c:v>117.4881262215561</c:v>
                </c:pt>
                <c:pt idx="63">
                  <c:v>116.1513767506861</c:v>
                </c:pt>
                <c:pt idx="64">
                  <c:v>116.0420063394331</c:v>
                </c:pt>
                <c:pt idx="65">
                  <c:v>116.00554953568211</c:v>
                </c:pt>
                <c:pt idx="66">
                  <c:v>117.57319209697511</c:v>
                </c:pt>
                <c:pt idx="67">
                  <c:v>117.7311715798961</c:v>
                </c:pt>
                <c:pt idx="68">
                  <c:v>118.33878497574609</c:v>
                </c:pt>
                <c:pt idx="69">
                  <c:v>118.3752417794971</c:v>
                </c:pt>
                <c:pt idx="70">
                  <c:v>117.0992536482121</c:v>
                </c:pt>
                <c:pt idx="71">
                  <c:v>119.2866618732721</c:v>
                </c:pt>
                <c:pt idx="72">
                  <c:v>122.3854901921071</c:v>
                </c:pt>
                <c:pt idx="73">
                  <c:v>124.5364416134161</c:v>
                </c:pt>
                <c:pt idx="74">
                  <c:v>126.2863681934641</c:v>
                </c:pt>
                <c:pt idx="75">
                  <c:v>129.4945669235521</c:v>
                </c:pt>
                <c:pt idx="76">
                  <c:v>133.94229698117411</c:v>
                </c:pt>
                <c:pt idx="77">
                  <c:v>139.1920767213181</c:v>
                </c:pt>
                <c:pt idx="78">
                  <c:v>140.54097846010509</c:v>
                </c:pt>
                <c:pt idx="79">
                  <c:v>143.9679180126991</c:v>
                </c:pt>
                <c:pt idx="80">
                  <c:v>152.71755091293909</c:v>
                </c:pt>
                <c:pt idx="81">
                  <c:v>165.8055434595482</c:v>
                </c:pt>
                <c:pt idx="82">
                  <c:v>168.21169250711421</c:v>
                </c:pt>
                <c:pt idx="83">
                  <c:v>200.7676182567572</c:v>
                </c:pt>
                <c:pt idx="84">
                  <c:v>211.1942641295432</c:v>
                </c:pt>
                <c:pt idx="85">
                  <c:v>199.16351889171321</c:v>
                </c:pt>
                <c:pt idx="86">
                  <c:v>230.62574052882621</c:v>
                </c:pt>
                <c:pt idx="87">
                  <c:v>239.70348466282519</c:v>
                </c:pt>
                <c:pt idx="88">
                  <c:v>242.34052680081419</c:v>
                </c:pt>
                <c:pt idx="89">
                  <c:v>256.54652799578719</c:v>
                </c:pt>
                <c:pt idx="90">
                  <c:v>280.79030249020218</c:v>
                </c:pt>
                <c:pt idx="91">
                  <c:v>411.0869190962764</c:v>
                </c:pt>
                <c:pt idx="92">
                  <c:v>462.92849403019841</c:v>
                </c:pt>
                <c:pt idx="93">
                  <c:v>421.07608332405039</c:v>
                </c:pt>
                <c:pt idx="94">
                  <c:v>360.99527074240228</c:v>
                </c:pt>
                <c:pt idx="95">
                  <c:v>337.59000273426028</c:v>
                </c:pt>
                <c:pt idx="96">
                  <c:v>261.39528289467017</c:v>
                </c:pt>
                <c:pt idx="97">
                  <c:v>209.99118960576021</c:v>
                </c:pt>
                <c:pt idx="98">
                  <c:v>178.7477087911532</c:v>
                </c:pt>
                <c:pt idx="99">
                  <c:v>168.10232209586121</c:v>
                </c:pt>
                <c:pt idx="100">
                  <c:v>160.2398047535622</c:v>
                </c:pt>
                <c:pt idx="101">
                  <c:v>148.2333640515661</c:v>
                </c:pt>
                <c:pt idx="102">
                  <c:v>153.6289710067141</c:v>
                </c:pt>
                <c:pt idx="103">
                  <c:v>152.53526689418419</c:v>
                </c:pt>
                <c:pt idx="104">
                  <c:v>150.82179711788709</c:v>
                </c:pt>
                <c:pt idx="105">
                  <c:v>148.6222366249101</c:v>
                </c:pt>
                <c:pt idx="106">
                  <c:v>144.00437481645011</c:v>
                </c:pt>
                <c:pt idx="107">
                  <c:v>133.17670410240311</c:v>
                </c:pt>
                <c:pt idx="108">
                  <c:v>128.40086281102211</c:v>
                </c:pt>
                <c:pt idx="109">
                  <c:v>121.72926772458911</c:v>
                </c:pt>
                <c:pt idx="110">
                  <c:v>114.18270934813209</c:v>
                </c:pt>
                <c:pt idx="111">
                  <c:v>116.63746746736609</c:v>
                </c:pt>
                <c:pt idx="112">
                  <c:v>125.4114049034401</c:v>
                </c:pt>
                <c:pt idx="113">
                  <c:v>127.45298591349609</c:v>
                </c:pt>
                <c:pt idx="114">
                  <c:v>127.3800723059941</c:v>
                </c:pt>
                <c:pt idx="115">
                  <c:v>128.6196036335281</c:v>
                </c:pt>
                <c:pt idx="116">
                  <c:v>127.4043768418281</c:v>
                </c:pt>
                <c:pt idx="117">
                  <c:v>123.1510830708781</c:v>
                </c:pt>
                <c:pt idx="118">
                  <c:v>131.0257526810941</c:v>
                </c:pt>
                <c:pt idx="119">
                  <c:v>134.12458099992909</c:v>
                </c:pt>
                <c:pt idx="120">
                  <c:v>135.50993954246709</c:v>
                </c:pt>
                <c:pt idx="121">
                  <c:v>139.22853352506911</c:v>
                </c:pt>
                <c:pt idx="122">
                  <c:v>133.11594276281809</c:v>
                </c:pt>
                <c:pt idx="123">
                  <c:v>127.7446403435041</c:v>
                </c:pt>
                <c:pt idx="124">
                  <c:v>127.0519610722351</c:v>
                </c:pt>
                <c:pt idx="125">
                  <c:v>128.40086281102211</c:v>
                </c:pt>
                <c:pt idx="126">
                  <c:v>126.8696770534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C1F-471A-9D25-615119BE26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8052224"/>
        <c:axId val="208053760"/>
      </c:lineChart>
      <c:dateAx>
        <c:axId val="208052224"/>
        <c:scaling>
          <c:orientation val="minMax"/>
        </c:scaling>
        <c:delete val="0"/>
        <c:axPos val="b"/>
        <c:majorGridlines>
          <c:spPr>
            <a:ln>
              <a:solidFill>
                <a:srgbClr val="B5C0C9"/>
              </a:solidFill>
            </a:ln>
          </c:spPr>
        </c:majorGridlines>
        <c:numFmt formatCode="mm\/yy" sourceLinked="0"/>
        <c:majorTickMark val="out"/>
        <c:minorTickMark val="none"/>
        <c:tickLblPos val="nextTo"/>
        <c:spPr>
          <a:noFill/>
          <a:ln w="9525">
            <a:noFill/>
            <a:prstDash val="solid"/>
          </a:ln>
        </c:spPr>
        <c:txPr>
          <a:bodyPr rot="0" vert="horz"/>
          <a:lstStyle/>
          <a:p>
            <a:pPr rtl="0">
              <a:defRPr sz="1200" b="0" i="0" u="none" strike="noStrike" baseline="0">
                <a:solidFill>
                  <a:schemeClr val="tx1"/>
                </a:solidFill>
                <a:latin typeface="+mj-lt"/>
                <a:ea typeface="Arial"/>
                <a:cs typeface="Arial"/>
              </a:defRPr>
            </a:pPr>
            <a:endParaRPr lang="de-DE"/>
          </a:p>
        </c:txPr>
        <c:crossAx val="208053760"/>
        <c:crosses val="autoZero"/>
        <c:auto val="0"/>
        <c:lblOffset val="60"/>
        <c:baseTimeUnit val="months"/>
        <c:majorUnit val="1"/>
        <c:majorTimeUnit val="years"/>
      </c:dateAx>
      <c:valAx>
        <c:axId val="208053760"/>
        <c:scaling>
          <c:orientation val="minMax"/>
          <c:max val="600"/>
        </c:scaling>
        <c:delete val="0"/>
        <c:axPos val="l"/>
        <c:majorGridlines>
          <c:spPr>
            <a:ln>
              <a:solidFill>
                <a:srgbClr val="B5C0C9"/>
              </a:solidFill>
            </a:ln>
          </c:spPr>
        </c:majorGridlines>
        <c:title>
          <c:tx>
            <c:rich>
              <a:bodyPr rot="0" vert="horz"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r>
                  <a:rPr lang="de-DE" sz="1400" b="1">
                    <a:latin typeface="+mj-lt"/>
                  </a:rPr>
                  <a:t>Index 2015 = 100</a:t>
                </a:r>
              </a:p>
            </c:rich>
          </c:tx>
          <c:layout>
            <c:manualLayout>
              <c:xMode val="edge"/>
              <c:yMode val="edge"/>
              <c:x val="6.2086309514802589E-2"/>
              <c:y val="5.3171702528177461E-2"/>
            </c:manualLayout>
          </c:layout>
          <c:overlay val="0"/>
          <c:spPr>
            <a:noFill/>
            <a:ln w="25577">
              <a:noFill/>
            </a:ln>
          </c:spPr>
        </c:title>
        <c:numFmt formatCode="#,##0" sourceLinked="0"/>
        <c:majorTickMark val="out"/>
        <c:minorTickMark val="none"/>
        <c:tickLblPos val="nextTo"/>
        <c:spPr>
          <a:noFill/>
          <a:ln w="9525">
            <a:noFill/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ln>
                  <a:noFill/>
                </a:ln>
                <a:solidFill>
                  <a:schemeClr val="tx1"/>
                </a:solidFill>
                <a:latin typeface="+mj-lt"/>
                <a:ea typeface="Arial"/>
                <a:cs typeface="Arial"/>
              </a:defRPr>
            </a:pPr>
            <a:endParaRPr lang="de-DE"/>
          </a:p>
        </c:txPr>
        <c:crossAx val="208052224"/>
        <c:crosses val="autoZero"/>
        <c:crossBetween val="midCat"/>
        <c:majorUnit val="100"/>
      </c:valAx>
      <c:spPr>
        <a:noFill/>
        <a:ln w="952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1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767258177182072E-2"/>
          <c:y val="2.9358875230776512E-2"/>
          <c:w val="0.90608223004325517"/>
          <c:h val="0.74315528695185651"/>
        </c:manualLayout>
      </c:layout>
      <c:lineChart>
        <c:grouping val="standar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Haushalte </c:v>
                </c:pt>
              </c:strCache>
            </c:strRef>
          </c:tx>
          <c:spPr>
            <a:ln w="25400">
              <a:solidFill>
                <a:srgbClr val="90CC7E"/>
              </a:solidFill>
              <a:prstDash val="solid"/>
            </a:ln>
          </c:spPr>
          <c:marker>
            <c:symbol val="none"/>
          </c:marker>
          <c:dLbls>
            <c:dLbl>
              <c:idx val="128"/>
              <c:layout>
                <c:manualLayout>
                  <c:x val="-2.2421263408180337E-2"/>
                  <c:y val="-8.01603206412825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707-4918-A32B-5A6F1594AD7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rgbClr val="62B748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217</c:f>
              <c:numCache>
                <c:formatCode>mmm\-yy</c:formatCode>
                <c:ptCount val="132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  <c:pt idx="104">
                  <c:v>45170</c:v>
                </c:pt>
                <c:pt idx="105">
                  <c:v>45200</c:v>
                </c:pt>
                <c:pt idx="106">
                  <c:v>45231</c:v>
                </c:pt>
                <c:pt idx="107">
                  <c:v>45261</c:v>
                </c:pt>
                <c:pt idx="108">
                  <c:v>45292</c:v>
                </c:pt>
                <c:pt idx="109">
                  <c:v>45323</c:v>
                </c:pt>
                <c:pt idx="110">
                  <c:v>45352</c:v>
                </c:pt>
                <c:pt idx="111">
                  <c:v>45383</c:v>
                </c:pt>
                <c:pt idx="112">
                  <c:v>45413</c:v>
                </c:pt>
                <c:pt idx="113">
                  <c:v>45444</c:v>
                </c:pt>
                <c:pt idx="114">
                  <c:v>45474</c:v>
                </c:pt>
                <c:pt idx="115">
                  <c:v>45505</c:v>
                </c:pt>
                <c:pt idx="116">
                  <c:v>45536</c:v>
                </c:pt>
                <c:pt idx="117">
                  <c:v>45566</c:v>
                </c:pt>
                <c:pt idx="118">
                  <c:v>45597</c:v>
                </c:pt>
                <c:pt idx="119">
                  <c:v>45627</c:v>
                </c:pt>
                <c:pt idx="120">
                  <c:v>45658</c:v>
                </c:pt>
                <c:pt idx="121">
                  <c:v>45689</c:v>
                </c:pt>
                <c:pt idx="122">
                  <c:v>45717</c:v>
                </c:pt>
                <c:pt idx="123">
                  <c:v>45748</c:v>
                </c:pt>
                <c:pt idx="124">
                  <c:v>45778</c:v>
                </c:pt>
                <c:pt idx="125">
                  <c:v>45809</c:v>
                </c:pt>
                <c:pt idx="126">
                  <c:v>45839</c:v>
                </c:pt>
                <c:pt idx="127">
                  <c:v>45870</c:v>
                </c:pt>
                <c:pt idx="128">
                  <c:v>45901</c:v>
                </c:pt>
                <c:pt idx="129">
                  <c:v>45931</c:v>
                </c:pt>
                <c:pt idx="130">
                  <c:v>45962</c:v>
                </c:pt>
                <c:pt idx="131">
                  <c:v>45992</c:v>
                </c:pt>
              </c:numCache>
            </c:numRef>
          </c:cat>
          <c:val>
            <c:numRef>
              <c:f>Sheet1!$B$2:$B$217</c:f>
              <c:numCache>
                <c:formatCode>0.0</c:formatCode>
                <c:ptCount val="132"/>
                <c:pt idx="0">
                  <c:v>99.38892245720038</c:v>
                </c:pt>
                <c:pt idx="1">
                  <c:v>99.38892245720038</c:v>
                </c:pt>
                <c:pt idx="2">
                  <c:v>99.289929506545789</c:v>
                </c:pt>
                <c:pt idx="3">
                  <c:v>99.190936555891213</c:v>
                </c:pt>
                <c:pt idx="4">
                  <c:v>99.091943605236622</c:v>
                </c:pt>
                <c:pt idx="5" formatCode="General">
                  <c:v>99.091943605236622</c:v>
                </c:pt>
                <c:pt idx="6" formatCode="General">
                  <c:v>98.89395770392747</c:v>
                </c:pt>
                <c:pt idx="7" formatCode="General">
                  <c:v>98.89395770392747</c:v>
                </c:pt>
                <c:pt idx="8">
                  <c:v>98.794964753272879</c:v>
                </c:pt>
                <c:pt idx="9">
                  <c:v>98.695971802618303</c:v>
                </c:pt>
                <c:pt idx="10">
                  <c:v>98.695971802618303</c:v>
                </c:pt>
                <c:pt idx="11">
                  <c:v>98.497985901309136</c:v>
                </c:pt>
                <c:pt idx="12">
                  <c:v>97.310070493454162</c:v>
                </c:pt>
                <c:pt idx="13">
                  <c:v>97.112084592144996</c:v>
                </c:pt>
                <c:pt idx="14">
                  <c:v>97.112084592144996</c:v>
                </c:pt>
                <c:pt idx="15">
                  <c:v>96.815105740181252</c:v>
                </c:pt>
                <c:pt idx="16">
                  <c:v>96.716112789526676</c:v>
                </c:pt>
                <c:pt idx="17">
                  <c:v>96.518126888217509</c:v>
                </c:pt>
                <c:pt idx="18">
                  <c:v>96.122155085599175</c:v>
                </c:pt>
                <c:pt idx="19">
                  <c:v>95.924169184290022</c:v>
                </c:pt>
                <c:pt idx="20">
                  <c:v>95.627190332326265</c:v>
                </c:pt>
                <c:pt idx="21">
                  <c:v>94.835246727089611</c:v>
                </c:pt>
                <c:pt idx="22">
                  <c:v>94.637260825780444</c:v>
                </c:pt>
                <c:pt idx="23">
                  <c:v>95.627190332326265</c:v>
                </c:pt>
                <c:pt idx="24" formatCode="General">
                  <c:v>93.647331319234624</c:v>
                </c:pt>
                <c:pt idx="25" formatCode="General">
                  <c:v>93.449345417925471</c:v>
                </c:pt>
                <c:pt idx="26" formatCode="General">
                  <c:v>93.251359516616304</c:v>
                </c:pt>
                <c:pt idx="27" formatCode="General">
                  <c:v>93.053373615307137</c:v>
                </c:pt>
                <c:pt idx="28" formatCode="General">
                  <c:v>92.954380664652575</c:v>
                </c:pt>
                <c:pt idx="29" formatCode="General">
                  <c:v>92.954380664652575</c:v>
                </c:pt>
                <c:pt idx="30">
                  <c:v>92.855387713997985</c:v>
                </c:pt>
                <c:pt idx="31">
                  <c:v>92.855387713997985</c:v>
                </c:pt>
                <c:pt idx="32">
                  <c:v>92.855387713997985</c:v>
                </c:pt>
                <c:pt idx="33">
                  <c:v>92.855387713997985</c:v>
                </c:pt>
                <c:pt idx="34">
                  <c:v>92.855387713997985</c:v>
                </c:pt>
                <c:pt idx="35">
                  <c:v>92.855387713997985</c:v>
                </c:pt>
                <c:pt idx="36">
                  <c:v>92.063444108761331</c:v>
                </c:pt>
                <c:pt idx="37">
                  <c:v>91.964451158106755</c:v>
                </c:pt>
                <c:pt idx="38">
                  <c:v>91.964451158106755</c:v>
                </c:pt>
                <c:pt idx="39">
                  <c:v>91.964451158106755</c:v>
                </c:pt>
                <c:pt idx="40">
                  <c:v>91.964451158106755</c:v>
                </c:pt>
                <c:pt idx="41">
                  <c:v>91.271500503524678</c:v>
                </c:pt>
                <c:pt idx="42">
                  <c:v>91.172507552870101</c:v>
                </c:pt>
                <c:pt idx="43">
                  <c:v>91.073514602215525</c:v>
                </c:pt>
                <c:pt idx="44">
                  <c:v>91.073514602215525</c:v>
                </c:pt>
                <c:pt idx="45">
                  <c:v>91.172507552870101</c:v>
                </c:pt>
                <c:pt idx="46">
                  <c:v>91.271500503524692</c:v>
                </c:pt>
                <c:pt idx="47">
                  <c:v>91.469486404833859</c:v>
                </c:pt>
                <c:pt idx="48">
                  <c:v>94.043303121852986</c:v>
                </c:pt>
                <c:pt idx="49">
                  <c:v>94.241289023162153</c:v>
                </c:pt>
                <c:pt idx="50">
                  <c:v>94.43927492447132</c:v>
                </c:pt>
                <c:pt idx="51">
                  <c:v>94.93423967774423</c:v>
                </c:pt>
                <c:pt idx="52">
                  <c:v>95.033232628398807</c:v>
                </c:pt>
                <c:pt idx="53">
                  <c:v>95.132225579053383</c:v>
                </c:pt>
                <c:pt idx="54">
                  <c:v>95.33021148036255</c:v>
                </c:pt>
                <c:pt idx="55">
                  <c:v>95.429204431017141</c:v>
                </c:pt>
                <c:pt idx="56">
                  <c:v>95.528197381671717</c:v>
                </c:pt>
                <c:pt idx="57">
                  <c:v>95.924169184290051</c:v>
                </c:pt>
                <c:pt idx="58">
                  <c:v>96.023162134944627</c:v>
                </c:pt>
                <c:pt idx="59">
                  <c:v>96.221148036253794</c:v>
                </c:pt>
                <c:pt idx="60">
                  <c:v>96.419133937562961</c:v>
                </c:pt>
                <c:pt idx="61">
                  <c:v>96.518126888217537</c:v>
                </c:pt>
                <c:pt idx="62">
                  <c:v>96.617119838872114</c:v>
                </c:pt>
                <c:pt idx="63">
                  <c:v>96.617119838872114</c:v>
                </c:pt>
                <c:pt idx="64">
                  <c:v>96.617119838872114</c:v>
                </c:pt>
                <c:pt idx="65">
                  <c:v>96.518126888217523</c:v>
                </c:pt>
                <c:pt idx="66">
                  <c:v>97.013091641490433</c:v>
                </c:pt>
                <c:pt idx="67">
                  <c:v>97.2110775427996</c:v>
                </c:pt>
                <c:pt idx="68">
                  <c:v>97.013091641490433</c:v>
                </c:pt>
                <c:pt idx="69">
                  <c:v>97.013091641490433</c:v>
                </c:pt>
                <c:pt idx="70">
                  <c:v>96.71611278952669</c:v>
                </c:pt>
                <c:pt idx="71">
                  <c:v>96.815105740181266</c:v>
                </c:pt>
                <c:pt idx="72">
                  <c:v>98.3</c:v>
                </c:pt>
                <c:pt idx="73">
                  <c:v>98.5</c:v>
                </c:pt>
                <c:pt idx="74">
                  <c:v>98.7</c:v>
                </c:pt>
                <c:pt idx="75">
                  <c:v>98.6</c:v>
                </c:pt>
                <c:pt idx="76">
                  <c:v>98.7</c:v>
                </c:pt>
                <c:pt idx="77">
                  <c:v>98.8</c:v>
                </c:pt>
                <c:pt idx="78">
                  <c:v>99</c:v>
                </c:pt>
                <c:pt idx="79">
                  <c:v>99.4</c:v>
                </c:pt>
                <c:pt idx="80">
                  <c:v>99.9</c:v>
                </c:pt>
                <c:pt idx="81">
                  <c:v>101.4</c:v>
                </c:pt>
                <c:pt idx="82">
                  <c:v>103.2</c:v>
                </c:pt>
                <c:pt idx="83">
                  <c:v>105.7</c:v>
                </c:pt>
                <c:pt idx="84">
                  <c:v>129.80000000000001</c:v>
                </c:pt>
                <c:pt idx="85">
                  <c:v>133.6</c:v>
                </c:pt>
                <c:pt idx="86">
                  <c:v>139.9</c:v>
                </c:pt>
                <c:pt idx="87">
                  <c:v>145.4</c:v>
                </c:pt>
                <c:pt idx="88">
                  <c:v>153.1</c:v>
                </c:pt>
                <c:pt idx="89">
                  <c:v>158.6</c:v>
                </c:pt>
                <c:pt idx="90">
                  <c:v>173.3</c:v>
                </c:pt>
                <c:pt idx="91">
                  <c:v>182.6</c:v>
                </c:pt>
                <c:pt idx="92">
                  <c:v>194.9</c:v>
                </c:pt>
                <c:pt idx="93">
                  <c:v>236.7</c:v>
                </c:pt>
                <c:pt idx="94">
                  <c:v>243.7</c:v>
                </c:pt>
                <c:pt idx="95">
                  <c:v>247.2</c:v>
                </c:pt>
                <c:pt idx="96">
                  <c:v>216.7</c:v>
                </c:pt>
                <c:pt idx="97">
                  <c:v>218</c:v>
                </c:pt>
                <c:pt idx="98">
                  <c:v>219.6</c:v>
                </c:pt>
                <c:pt idx="99">
                  <c:v>218.8</c:v>
                </c:pt>
                <c:pt idx="100">
                  <c:v>217.3</c:v>
                </c:pt>
                <c:pt idx="101">
                  <c:v>215.2</c:v>
                </c:pt>
                <c:pt idx="102">
                  <c:v>213</c:v>
                </c:pt>
                <c:pt idx="103">
                  <c:v>211.6</c:v>
                </c:pt>
                <c:pt idx="104">
                  <c:v>209.1</c:v>
                </c:pt>
                <c:pt idx="105">
                  <c:v>206.4</c:v>
                </c:pt>
                <c:pt idx="106">
                  <c:v>200.2</c:v>
                </c:pt>
                <c:pt idx="107">
                  <c:v>198.8</c:v>
                </c:pt>
                <c:pt idx="108">
                  <c:v>203.3</c:v>
                </c:pt>
                <c:pt idx="109">
                  <c:v>201.6</c:v>
                </c:pt>
                <c:pt idx="110">
                  <c:v>199.3</c:v>
                </c:pt>
                <c:pt idx="111">
                  <c:v>186.2</c:v>
                </c:pt>
                <c:pt idx="112">
                  <c:v>185.4</c:v>
                </c:pt>
                <c:pt idx="113">
                  <c:v>185.3</c:v>
                </c:pt>
                <c:pt idx="114">
                  <c:v>185.2</c:v>
                </c:pt>
                <c:pt idx="115">
                  <c:v>184.4</c:v>
                </c:pt>
                <c:pt idx="116">
                  <c:v>184.5</c:v>
                </c:pt>
                <c:pt idx="117">
                  <c:v>184.1</c:v>
                </c:pt>
                <c:pt idx="118">
                  <c:v>184.6</c:v>
                </c:pt>
                <c:pt idx="119">
                  <c:v>185.6</c:v>
                </c:pt>
                <c:pt idx="120" formatCode="General">
                  <c:v>183.8</c:v>
                </c:pt>
                <c:pt idx="121" formatCode="#,##0.0">
                  <c:v>184.9</c:v>
                </c:pt>
                <c:pt idx="122" formatCode="#,##0.0">
                  <c:v>185.5</c:v>
                </c:pt>
                <c:pt idx="123" formatCode="#,##0.0">
                  <c:v>185.9</c:v>
                </c:pt>
                <c:pt idx="124" formatCode="#,##0.0">
                  <c:v>185.3</c:v>
                </c:pt>
                <c:pt idx="125" formatCode="#,##0.0">
                  <c:v>185.4</c:v>
                </c:pt>
                <c:pt idx="126" formatCode="#,##0.0">
                  <c:v>185.6</c:v>
                </c:pt>
                <c:pt idx="127" formatCode="#,##0.0">
                  <c:v>185.7</c:v>
                </c:pt>
                <c:pt idx="128" formatCode="#,##0.0">
                  <c:v>185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464-4991-9BA7-19554392187E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Industrie</c:v>
                </c:pt>
              </c:strCache>
            </c:strRef>
          </c:tx>
          <c:spPr>
            <a:ln w="25400">
              <a:solidFill>
                <a:srgbClr val="46AA28"/>
              </a:solidFill>
              <a:prstDash val="solid"/>
            </a:ln>
          </c:spPr>
          <c:marker>
            <c:symbol val="none"/>
          </c:marker>
          <c:dLbls>
            <c:dLbl>
              <c:idx val="128"/>
              <c:layout>
                <c:manualLayout>
                  <c:x val="-2.989501787757378E-2"/>
                  <c:y val="6.412825651302604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rgbClr val="46AA28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707-4918-A32B-5A6F1594AD7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rgbClr val="90CC7E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217</c:f>
              <c:numCache>
                <c:formatCode>mmm\-yy</c:formatCode>
                <c:ptCount val="132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  <c:pt idx="104">
                  <c:v>45170</c:v>
                </c:pt>
                <c:pt idx="105">
                  <c:v>45200</c:v>
                </c:pt>
                <c:pt idx="106">
                  <c:v>45231</c:v>
                </c:pt>
                <c:pt idx="107">
                  <c:v>45261</c:v>
                </c:pt>
                <c:pt idx="108">
                  <c:v>45292</c:v>
                </c:pt>
                <c:pt idx="109">
                  <c:v>45323</c:v>
                </c:pt>
                <c:pt idx="110">
                  <c:v>45352</c:v>
                </c:pt>
                <c:pt idx="111">
                  <c:v>45383</c:v>
                </c:pt>
                <c:pt idx="112">
                  <c:v>45413</c:v>
                </c:pt>
                <c:pt idx="113">
                  <c:v>45444</c:v>
                </c:pt>
                <c:pt idx="114">
                  <c:v>45474</c:v>
                </c:pt>
                <c:pt idx="115">
                  <c:v>45505</c:v>
                </c:pt>
                <c:pt idx="116">
                  <c:v>45536</c:v>
                </c:pt>
                <c:pt idx="117">
                  <c:v>45566</c:v>
                </c:pt>
                <c:pt idx="118">
                  <c:v>45597</c:v>
                </c:pt>
                <c:pt idx="119">
                  <c:v>45627</c:v>
                </c:pt>
                <c:pt idx="120">
                  <c:v>45658</c:v>
                </c:pt>
                <c:pt idx="121">
                  <c:v>45689</c:v>
                </c:pt>
                <c:pt idx="122">
                  <c:v>45717</c:v>
                </c:pt>
                <c:pt idx="123">
                  <c:v>45748</c:v>
                </c:pt>
                <c:pt idx="124">
                  <c:v>45778</c:v>
                </c:pt>
                <c:pt idx="125">
                  <c:v>45809</c:v>
                </c:pt>
                <c:pt idx="126">
                  <c:v>45839</c:v>
                </c:pt>
                <c:pt idx="127">
                  <c:v>45870</c:v>
                </c:pt>
                <c:pt idx="128">
                  <c:v>45901</c:v>
                </c:pt>
                <c:pt idx="129">
                  <c:v>45931</c:v>
                </c:pt>
                <c:pt idx="130">
                  <c:v>45962</c:v>
                </c:pt>
                <c:pt idx="131">
                  <c:v>45992</c:v>
                </c:pt>
              </c:numCache>
            </c:numRef>
          </c:cat>
          <c:val>
            <c:numRef>
              <c:f>Sheet1!$C$2:$C$217</c:f>
              <c:numCache>
                <c:formatCode>0.0</c:formatCode>
                <c:ptCount val="132"/>
                <c:pt idx="0">
                  <c:v>82.027243928194352</c:v>
                </c:pt>
                <c:pt idx="1">
                  <c:v>79.848152059134151</c:v>
                </c:pt>
                <c:pt idx="2">
                  <c:v>81.560295670538594</c:v>
                </c:pt>
                <c:pt idx="3">
                  <c:v>79.848152059134165</c:v>
                </c:pt>
                <c:pt idx="4">
                  <c:v>80.081626187962044</c:v>
                </c:pt>
                <c:pt idx="5" formatCode="General">
                  <c:v>79.22555438225983</c:v>
                </c:pt>
                <c:pt idx="6" formatCode="General">
                  <c:v>78.136008447729736</c:v>
                </c:pt>
                <c:pt idx="7" formatCode="General">
                  <c:v>77.59123548046469</c:v>
                </c:pt>
                <c:pt idx="8" formatCode="General">
                  <c:v>75.801267159450958</c:v>
                </c:pt>
                <c:pt idx="9" formatCode="General">
                  <c:v>74.244772967265106</c:v>
                </c:pt>
                <c:pt idx="10" formatCode="General">
                  <c:v>73.233051742344287</c:v>
                </c:pt>
                <c:pt idx="11" formatCode="General">
                  <c:v>72.221330517423482</c:v>
                </c:pt>
                <c:pt idx="12" formatCode="General">
                  <c:v>67.707497360084517</c:v>
                </c:pt>
                <c:pt idx="13" formatCode="General">
                  <c:v>65.13928194297786</c:v>
                </c:pt>
                <c:pt idx="14" formatCode="General">
                  <c:v>64.594508975712813</c:v>
                </c:pt>
                <c:pt idx="15" formatCode="General">
                  <c:v>63.81626187961988</c:v>
                </c:pt>
                <c:pt idx="16" formatCode="General">
                  <c:v>63.738437170010585</c:v>
                </c:pt>
                <c:pt idx="17" formatCode="General">
                  <c:v>65.217106652587134</c:v>
                </c:pt>
                <c:pt idx="18" formatCode="General">
                  <c:v>66.073178458289362</c:v>
                </c:pt>
                <c:pt idx="19" formatCode="General">
                  <c:v>66.073178458289362</c:v>
                </c:pt>
                <c:pt idx="20" formatCode="General">
                  <c:v>63.894086589229161</c:v>
                </c:pt>
                <c:pt idx="21" formatCode="General">
                  <c:v>64.672333685322087</c:v>
                </c:pt>
                <c:pt idx="22" formatCode="General">
                  <c:v>67.162724392819456</c:v>
                </c:pt>
                <c:pt idx="23" formatCode="General">
                  <c:v>68.096620908130973</c:v>
                </c:pt>
                <c:pt idx="24">
                  <c:v>71.287434002111965</c:v>
                </c:pt>
                <c:pt idx="25">
                  <c:v>71.443083421330556</c:v>
                </c:pt>
                <c:pt idx="26">
                  <c:v>70.66483632523763</c:v>
                </c:pt>
                <c:pt idx="27">
                  <c:v>69.41964097148896</c:v>
                </c:pt>
                <c:pt idx="28">
                  <c:v>69.263991552270369</c:v>
                </c:pt>
                <c:pt idx="29">
                  <c:v>68.874868004223899</c:v>
                </c:pt>
                <c:pt idx="30">
                  <c:v>68.563569165786717</c:v>
                </c:pt>
                <c:pt idx="31">
                  <c:v>68.40791974656814</c:v>
                </c:pt>
                <c:pt idx="32">
                  <c:v>69.341816261879643</c:v>
                </c:pt>
                <c:pt idx="33">
                  <c:v>69.808764519535401</c:v>
                </c:pt>
                <c:pt idx="34">
                  <c:v>70.275712777191146</c:v>
                </c:pt>
                <c:pt idx="35">
                  <c:v>71.754382259767709</c:v>
                </c:pt>
                <c:pt idx="36">
                  <c:v>72.454804646251333</c:v>
                </c:pt>
                <c:pt idx="37">
                  <c:v>71.053959873284072</c:v>
                </c:pt>
                <c:pt idx="38">
                  <c:v>71.754382259767709</c:v>
                </c:pt>
                <c:pt idx="39">
                  <c:v>73.700000000000017</c:v>
                </c:pt>
                <c:pt idx="40">
                  <c:v>74.089123548046473</c:v>
                </c:pt>
                <c:pt idx="41">
                  <c:v>75.334318901795143</c:v>
                </c:pt>
                <c:pt idx="42">
                  <c:v>76.034741288278781</c:v>
                </c:pt>
                <c:pt idx="43">
                  <c:v>76.657338965153116</c:v>
                </c:pt>
                <c:pt idx="44">
                  <c:v>78.914255543822605</c:v>
                </c:pt>
                <c:pt idx="45">
                  <c:v>82.649841605068644</c:v>
                </c:pt>
                <c:pt idx="46">
                  <c:v>84.128511087645194</c:v>
                </c:pt>
                <c:pt idx="47">
                  <c:v>82.416367476240765</c:v>
                </c:pt>
                <c:pt idx="48">
                  <c:v>81.01552270327349</c:v>
                </c:pt>
                <c:pt idx="49">
                  <c:v>80.470749736008443</c:v>
                </c:pt>
                <c:pt idx="50">
                  <c:v>76.890813093980981</c:v>
                </c:pt>
                <c:pt idx="51">
                  <c:v>75.023020063357961</c:v>
                </c:pt>
                <c:pt idx="52">
                  <c:v>72.221330517423425</c:v>
                </c:pt>
                <c:pt idx="53">
                  <c:v>69.419640971488903</c:v>
                </c:pt>
                <c:pt idx="54">
                  <c:v>66.306652587117199</c:v>
                </c:pt>
                <c:pt idx="55">
                  <c:v>64.672333685322045</c:v>
                </c:pt>
                <c:pt idx="56">
                  <c:v>64.750158394931347</c:v>
                </c:pt>
                <c:pt idx="57">
                  <c:v>64.750158394931347</c:v>
                </c:pt>
                <c:pt idx="58">
                  <c:v>65.45058078141497</c:v>
                </c:pt>
                <c:pt idx="59">
                  <c:v>68.797043294614554</c:v>
                </c:pt>
                <c:pt idx="60">
                  <c:v>66.773600844772943</c:v>
                </c:pt>
                <c:pt idx="61">
                  <c:v>62.804540654699039</c:v>
                </c:pt>
                <c:pt idx="62">
                  <c:v>58.757655755015833</c:v>
                </c:pt>
                <c:pt idx="63">
                  <c:v>55.644667370644129</c:v>
                </c:pt>
                <c:pt idx="64">
                  <c:v>53.621224920802526</c:v>
                </c:pt>
                <c:pt idx="65">
                  <c:v>51.130834213305164</c:v>
                </c:pt>
                <c:pt idx="66">
                  <c:v>50.352587117212245</c:v>
                </c:pt>
                <c:pt idx="67">
                  <c:v>49.963463569165782</c:v>
                </c:pt>
                <c:pt idx="68">
                  <c:v>53.387750791974639</c:v>
                </c:pt>
                <c:pt idx="69">
                  <c:v>57.979408658922907</c:v>
                </c:pt>
                <c:pt idx="70">
                  <c:v>61.948468848996825</c:v>
                </c:pt>
                <c:pt idx="71">
                  <c:v>64.205385427666315</c:v>
                </c:pt>
                <c:pt idx="72">
                  <c:v>73.7</c:v>
                </c:pt>
                <c:pt idx="73">
                  <c:v>75.8</c:v>
                </c:pt>
                <c:pt idx="74">
                  <c:v>74.7</c:v>
                </c:pt>
                <c:pt idx="75">
                  <c:v>75.900000000000006</c:v>
                </c:pt>
                <c:pt idx="76">
                  <c:v>79.8</c:v>
                </c:pt>
                <c:pt idx="77">
                  <c:v>83.2</c:v>
                </c:pt>
                <c:pt idx="78">
                  <c:v>89.9</c:v>
                </c:pt>
                <c:pt idx="79">
                  <c:v>97.1</c:v>
                </c:pt>
                <c:pt idx="80">
                  <c:v>108.1</c:v>
                </c:pt>
                <c:pt idx="81">
                  <c:v>136.1</c:v>
                </c:pt>
                <c:pt idx="82">
                  <c:v>144.69999999999999</c:v>
                </c:pt>
                <c:pt idx="83">
                  <c:v>160.80000000000001</c:v>
                </c:pt>
                <c:pt idx="84">
                  <c:v>176.5</c:v>
                </c:pt>
                <c:pt idx="85">
                  <c:v>179</c:v>
                </c:pt>
                <c:pt idx="86">
                  <c:v>185.3</c:v>
                </c:pt>
                <c:pt idx="87">
                  <c:v>212.2</c:v>
                </c:pt>
                <c:pt idx="88">
                  <c:v>201.6</c:v>
                </c:pt>
                <c:pt idx="89">
                  <c:v>198.4</c:v>
                </c:pt>
                <c:pt idx="90">
                  <c:v>226.9</c:v>
                </c:pt>
                <c:pt idx="91">
                  <c:v>297.7</c:v>
                </c:pt>
                <c:pt idx="92">
                  <c:v>335.8</c:v>
                </c:pt>
                <c:pt idx="93">
                  <c:v>321.5</c:v>
                </c:pt>
                <c:pt idx="94">
                  <c:v>240.2</c:v>
                </c:pt>
                <c:pt idx="95">
                  <c:v>238.1</c:v>
                </c:pt>
                <c:pt idx="96">
                  <c:v>233.4</c:v>
                </c:pt>
                <c:pt idx="97">
                  <c:v>214.8</c:v>
                </c:pt>
                <c:pt idx="98">
                  <c:v>206.1</c:v>
                </c:pt>
                <c:pt idx="99">
                  <c:v>202</c:v>
                </c:pt>
                <c:pt idx="100">
                  <c:v>193.2</c:v>
                </c:pt>
                <c:pt idx="101">
                  <c:v>183.6</c:v>
                </c:pt>
                <c:pt idx="102">
                  <c:v>179.9</c:v>
                </c:pt>
                <c:pt idx="103">
                  <c:v>175.7</c:v>
                </c:pt>
                <c:pt idx="104">
                  <c:v>180</c:v>
                </c:pt>
                <c:pt idx="105">
                  <c:v>181</c:v>
                </c:pt>
                <c:pt idx="106">
                  <c:v>181</c:v>
                </c:pt>
                <c:pt idx="107">
                  <c:v>177.2</c:v>
                </c:pt>
                <c:pt idx="108">
                  <c:v>161.69999999999999</c:v>
                </c:pt>
                <c:pt idx="109">
                  <c:v>151.30000000000001</c:v>
                </c:pt>
                <c:pt idx="110">
                  <c:v>147.80000000000001</c:v>
                </c:pt>
                <c:pt idx="111">
                  <c:v>149.5</c:v>
                </c:pt>
                <c:pt idx="112">
                  <c:v>150.9</c:v>
                </c:pt>
                <c:pt idx="113">
                  <c:v>153.19999999999999</c:v>
                </c:pt>
                <c:pt idx="114">
                  <c:v>155.1</c:v>
                </c:pt>
                <c:pt idx="115">
                  <c:v>156</c:v>
                </c:pt>
                <c:pt idx="116">
                  <c:v>156.80000000000001</c:v>
                </c:pt>
                <c:pt idx="117">
                  <c:v>159.80000000000001</c:v>
                </c:pt>
                <c:pt idx="118">
                  <c:v>162.4</c:v>
                </c:pt>
                <c:pt idx="119">
                  <c:v>164.1</c:v>
                </c:pt>
                <c:pt idx="120" formatCode="General">
                  <c:v>164.6</c:v>
                </c:pt>
                <c:pt idx="121" formatCode="#,##0.0">
                  <c:v>168.5</c:v>
                </c:pt>
                <c:pt idx="122" formatCode="#,##0.0">
                  <c:v>168</c:v>
                </c:pt>
                <c:pt idx="123" formatCode="#,##0.0">
                  <c:v>160.19999999999999</c:v>
                </c:pt>
                <c:pt idx="124" formatCode="#,##0.0">
                  <c:v>154</c:v>
                </c:pt>
                <c:pt idx="125" formatCode="#,##0.0">
                  <c:v>155.1</c:v>
                </c:pt>
                <c:pt idx="126" formatCode="#,##0.0">
                  <c:v>154</c:v>
                </c:pt>
                <c:pt idx="127" formatCode="#,##0.0">
                  <c:v>151.4</c:v>
                </c:pt>
                <c:pt idx="128" formatCode="#,##0.0">
                  <c:v>150.6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464-4991-9BA7-19554392187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00366592"/>
        <c:axId val="100368384"/>
      </c:lineChart>
      <c:dateAx>
        <c:axId val="100366592"/>
        <c:scaling>
          <c:orientation val="minMax"/>
          <c:max val="45930"/>
        </c:scaling>
        <c:delete val="0"/>
        <c:axPos val="b"/>
        <c:majorGridlines>
          <c:spPr>
            <a:ln w="9525">
              <a:solidFill>
                <a:srgbClr val="B5C0C9"/>
              </a:solidFill>
            </a:ln>
          </c:spPr>
        </c:majorGridlines>
        <c:numFmt formatCode="mmm\-yy" sourceLinked="1"/>
        <c:majorTickMark val="none"/>
        <c:minorTickMark val="none"/>
        <c:tickLblPos val="nextTo"/>
        <c:spPr>
          <a:ln w="9525">
            <a:solidFill>
              <a:srgbClr val="B5C0C9"/>
            </a:solidFill>
            <a:prstDash val="solid"/>
          </a:ln>
        </c:spPr>
        <c:txPr>
          <a:bodyPr rot="-54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endParaRPr lang="de-DE"/>
          </a:p>
        </c:txPr>
        <c:crossAx val="100368384"/>
        <c:crosses val="autoZero"/>
        <c:auto val="0"/>
        <c:lblOffset val="100"/>
        <c:baseTimeUnit val="months"/>
        <c:majorUnit val="12"/>
        <c:majorTimeUnit val="months"/>
        <c:minorUnit val="3"/>
        <c:minorTimeUnit val="months"/>
      </c:dateAx>
      <c:valAx>
        <c:axId val="100368384"/>
        <c:scaling>
          <c:orientation val="minMax"/>
        </c:scaling>
        <c:delete val="0"/>
        <c:axPos val="l"/>
        <c:majorGridlines>
          <c:spPr>
            <a:ln w="9525">
              <a:solidFill>
                <a:srgbClr val="B5C0C9"/>
              </a:solidFill>
              <a:prstDash val="solid"/>
            </a:ln>
          </c:spPr>
        </c:majorGridlines>
        <c:numFmt formatCode="0" sourceLinked="0"/>
        <c:majorTickMark val="none"/>
        <c:minorTickMark val="none"/>
        <c:tickLblPos val="nextTo"/>
        <c:spPr>
          <a:noFill/>
          <a:ln w="14510">
            <a:noFill/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endParaRPr lang="de-DE"/>
          </a:p>
        </c:txPr>
        <c:crossAx val="100366592"/>
        <c:crosses val="autoZero"/>
        <c:crossBetween val="between"/>
      </c:valAx>
      <c:spPr>
        <a:noFill/>
        <a:ln w="9525">
          <a:solidFill>
            <a:srgbClr val="B5C0C9"/>
          </a:solidFill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057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1182204444099621E-2"/>
          <c:y val="3.9631704353589065E-2"/>
          <c:w val="0.89264727245367814"/>
          <c:h val="0.7345156454641567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Energiewirtschaft Ist</c:v>
                </c:pt>
              </c:strCache>
            </c:strRef>
          </c:tx>
          <c:spPr>
            <a:solidFill>
              <a:srgbClr val="94A2AE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ECF-4CCF-BD47-A7CE92DB8100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ECF-4CCF-BD47-A7CE92DB8100}"/>
              </c:ext>
            </c:extLst>
          </c:dPt>
          <c:dPt>
            <c:idx val="2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ECF-4CCF-BD47-A7CE92DB8100}"/>
              </c:ext>
            </c:extLst>
          </c:dPt>
          <c:dLbls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vert="horz"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3ECF-4CCF-BD47-A7CE92DB8100}"/>
                </c:ext>
              </c:extLst>
            </c:dLbl>
            <c:dLbl>
              <c:idx val="4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vert="horz"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3ECF-4CCF-BD47-A7CE92DB8100}"/>
                </c:ext>
              </c:extLst>
            </c:dLbl>
            <c:dLbl>
              <c:idx val="17"/>
              <c:tx>
                <c:rich>
                  <a:bodyPr rot="-5400000" vert="horz"/>
                  <a:lstStyle/>
                  <a:p>
                    <a:pPr>
                      <a:defRPr sz="1200" b="1">
                        <a:solidFill>
                          <a:schemeClr val="bg1"/>
                        </a:solidFill>
                      </a:defRPr>
                    </a:pPr>
                    <a:r>
                      <a:rPr lang="en-US">
                        <a:solidFill>
                          <a:schemeClr val="bg1"/>
                        </a:solidFill>
                      </a:rPr>
                      <a:t>179-183</a:t>
                    </a:r>
                  </a:p>
                </c:rich>
              </c:tx>
              <c:numFmt formatCode="#,##0" sourceLinked="0"/>
              <c:spPr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3ECF-4CCF-BD47-A7CE92DB8100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179-183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3ECF-4CCF-BD47-A7CE92DB810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22</c:f>
              <c:strCache>
                <c:ptCount val="21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/
Ziel**</c:v>
                </c:pt>
                <c:pt idx="13">
                  <c:v>2023</c:v>
                </c:pt>
                <c:pt idx="14">
                  <c:v>2024*</c:v>
                </c:pt>
                <c:pt idx="20">
                  <c:v>Ziel
2030**</c:v>
                </c:pt>
              </c:strCache>
            </c:strRef>
          </c:cat>
          <c:val>
            <c:numRef>
              <c:f>Tabelle1!$B$2:$B$22</c:f>
              <c:numCache>
                <c:formatCode>0</c:formatCode>
                <c:ptCount val="21"/>
                <c:pt idx="0">
                  <c:v>474.77220432062688</c:v>
                </c:pt>
                <c:pt idx="1">
                  <c:v>406.93598225156478</c:v>
                </c:pt>
                <c:pt idx="2">
                  <c:v>390.84367773868405</c:v>
                </c:pt>
                <c:pt idx="3">
                  <c:v>402.60094170216644</c:v>
                </c:pt>
                <c:pt idx="4">
                  <c:v>372.63707419132606</c:v>
                </c:pt>
                <c:pt idx="5">
                  <c:v>351.32140085469337</c:v>
                </c:pt>
                <c:pt idx="6">
                  <c:v>346.32871761389902</c:v>
                </c:pt>
                <c:pt idx="7">
                  <c:v>326.50069104369044</c:v>
                </c:pt>
                <c:pt idx="8">
                  <c:v>310.8510664619198</c:v>
                </c:pt>
                <c:pt idx="9">
                  <c:v>258.28302963996083</c:v>
                </c:pt>
                <c:pt idx="10">
                  <c:v>219.03765428068593</c:v>
                </c:pt>
                <c:pt idx="11">
                  <c:v>246.421430453738</c:v>
                </c:pt>
                <c:pt idx="12">
                  <c:v>256.67041825982216</c:v>
                </c:pt>
                <c:pt idx="13">
                  <c:v>202.58241705156237</c:v>
                </c:pt>
                <c:pt idx="14">
                  <c:v>184.993886342582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ECF-4CCF-BD47-A7CE92DB810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Ziele</c:v>
                </c:pt>
              </c:strCache>
            </c:strRef>
          </c:tx>
          <c:spPr>
            <a:ln>
              <a:noFill/>
            </a:ln>
          </c:spPr>
          <c:invertIfNegative val="0"/>
          <c:dPt>
            <c:idx val="1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3ECF-4CCF-BD47-A7CE92DB8100}"/>
              </c:ext>
            </c:extLst>
          </c:dPt>
          <c:dPt>
            <c:idx val="12"/>
            <c:invertIfNegative val="0"/>
            <c:bubble3D val="0"/>
            <c:spPr>
              <a:solidFill>
                <a:srgbClr val="C2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3ECF-4CCF-BD47-A7CE92DB8100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3ECF-4CCF-BD47-A7CE92DB8100}"/>
              </c:ext>
            </c:extLst>
          </c:dPt>
          <c:dPt>
            <c:idx val="20"/>
            <c:invertIfNegative val="0"/>
            <c:bubble3D val="0"/>
            <c:spPr>
              <a:solidFill>
                <a:srgbClr val="C2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3ECF-4CCF-BD47-A7CE92DB8100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3ECF-4CCF-BD47-A7CE92DB8100}"/>
              </c:ext>
            </c:extLst>
          </c:dPt>
          <c:dLbls>
            <c:dLbl>
              <c:idx val="10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ECF-4CCF-BD47-A7CE92DB8100}"/>
                </c:ext>
              </c:extLst>
            </c:dLbl>
            <c:dLbl>
              <c:idx val="12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ECF-4CCF-BD47-A7CE92DB8100}"/>
                </c:ext>
              </c:extLst>
            </c:dLbl>
            <c:dLbl>
              <c:idx val="13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ECF-4CCF-BD47-A7CE92DB8100}"/>
                </c:ext>
              </c:extLst>
            </c:dLbl>
            <c:dLbl>
              <c:idx val="21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3ECF-4CCF-BD47-A7CE92DB81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22</c:f>
              <c:strCache>
                <c:ptCount val="21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/
Ziel**</c:v>
                </c:pt>
                <c:pt idx="13">
                  <c:v>2023</c:v>
                </c:pt>
                <c:pt idx="14">
                  <c:v>2024*</c:v>
                </c:pt>
                <c:pt idx="20">
                  <c:v>Ziel
2030**</c:v>
                </c:pt>
              </c:strCache>
            </c:strRef>
          </c:cat>
          <c:val>
            <c:numRef>
              <c:f>Tabelle1!$C$2:$C$22</c:f>
              <c:numCache>
                <c:formatCode>General</c:formatCode>
                <c:ptCount val="21"/>
                <c:pt idx="12">
                  <c:v>257</c:v>
                </c:pt>
                <c:pt idx="20">
                  <c:v>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3ECF-4CCF-BD47-A7CE92DB81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384853888"/>
        <c:axId val="384855424"/>
      </c:barChart>
      <c:catAx>
        <c:axId val="38485388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525">
            <a:solidFill>
              <a:srgbClr val="B5C0C9"/>
            </a:solidFill>
          </a:ln>
        </c:spPr>
        <c:txPr>
          <a:bodyPr rot="-5400000" vert="horz" anchor="t" anchorCtr="0"/>
          <a:lstStyle/>
          <a:p>
            <a:pPr>
              <a:defRPr sz="1200" b="1"/>
            </a:pPr>
            <a:endParaRPr lang="de-DE"/>
          </a:p>
        </c:txPr>
        <c:crossAx val="384855424"/>
        <c:crosses val="autoZero"/>
        <c:auto val="1"/>
        <c:lblAlgn val="ctr"/>
        <c:lblOffset val="100"/>
        <c:noMultiLvlLbl val="0"/>
      </c:catAx>
      <c:valAx>
        <c:axId val="384855424"/>
        <c:scaling>
          <c:orientation val="minMax"/>
          <c:max val="500"/>
        </c:scaling>
        <c:delete val="0"/>
        <c:axPos val="l"/>
        <c:majorGridlines>
          <c:spPr>
            <a:ln w="9525">
              <a:solidFill>
                <a:srgbClr val="B5C0C9"/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400"/>
                </a:pPr>
                <a:r>
                  <a:rPr lang="de-DE" sz="1400" dirty="0"/>
                  <a:t>Mio. t CO</a:t>
                </a:r>
                <a:r>
                  <a:rPr lang="de-DE" sz="1400" baseline="-25000" dirty="0"/>
                  <a:t>2</a:t>
                </a:r>
                <a:r>
                  <a:rPr lang="de-DE" sz="1400" dirty="0"/>
                  <a:t> äquivalent</a:t>
                </a:r>
              </a:p>
            </c:rich>
          </c:tx>
          <c:layout>
            <c:manualLayout>
              <c:xMode val="edge"/>
              <c:yMode val="edge"/>
              <c:x val="0"/>
              <c:y val="0.13509633440108565"/>
            </c:manualLayout>
          </c:layout>
          <c:overlay val="0"/>
        </c:title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 b="0"/>
            </a:pPr>
            <a:endParaRPr lang="de-DE"/>
          </a:p>
        </c:txPr>
        <c:crossAx val="384853888"/>
        <c:crosses val="autoZero"/>
        <c:crossBetween val="between"/>
        <c:majorUnit val="1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5684582959392"/>
          <c:y val="5.7414987455225414E-2"/>
          <c:w val="0.85543022472867924"/>
          <c:h val="0.77259810960503683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Tabelle1!$B$1</c:f>
              <c:strCache>
                <c:ptCount val="1"/>
                <c:pt idx="0">
                  <c:v>Energiewirtschaft</c:v>
                </c:pt>
              </c:strCache>
            </c:strRef>
          </c:tx>
          <c:spPr>
            <a:solidFill>
              <a:schemeClr val="bg2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12"/>
            <c:invertIfNegative val="0"/>
            <c:bubble3D val="0"/>
            <c:spPr>
              <a:solidFill>
                <a:srgbClr val="94A2AE"/>
              </a:solidFill>
              <a:ln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232-41BE-88CD-6C22AC24554E}"/>
              </c:ext>
            </c:extLst>
          </c:dPt>
          <c:dPt>
            <c:idx val="15"/>
            <c:invertIfNegative val="0"/>
            <c:bubble3D val="0"/>
            <c:spPr>
              <a:solidFill>
                <a:srgbClr val="94A2AE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232-41BE-88CD-6C22AC24554E}"/>
              </c:ext>
            </c:extLst>
          </c:dPt>
          <c:dLbls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232-41BE-88CD-6C22AC24554E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232-41BE-88CD-6C22AC2455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27</c:f>
              <c:strCache>
                <c:ptCount val="16"/>
                <c:pt idx="0">
                  <c:v>1990</c:v>
                </c:pt>
                <c:pt idx="1">
                  <c:v>2000</c:v>
                </c:pt>
                <c:pt idx="2">
                  <c:v>2010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*</c:v>
                </c:pt>
                <c:pt idx="9">
                  <c:v>2030-
Ziel**</c:v>
                </c:pt>
                <c:pt idx="12">
                  <c:v>2035-
Ziel**</c:v>
                </c:pt>
                <c:pt idx="15">
                  <c:v>2040-
Ziel**</c:v>
                </c:pt>
              </c:strCache>
            </c:strRef>
          </c:cat>
          <c:val>
            <c:numRef>
              <c:f>Tabelle1!$B$2:$B$27</c:f>
              <c:numCache>
                <c:formatCode>0</c:formatCode>
                <c:ptCount val="19"/>
                <c:pt idx="0">
                  <c:v>474.77220432062688</c:v>
                </c:pt>
                <c:pt idx="1">
                  <c:v>390.84367773868405</c:v>
                </c:pt>
                <c:pt idx="2">
                  <c:v>372.63707419132606</c:v>
                </c:pt>
                <c:pt idx="3">
                  <c:v>219.03765428068593</c:v>
                </c:pt>
                <c:pt idx="4">
                  <c:v>246.421430453738</c:v>
                </c:pt>
                <c:pt idx="5">
                  <c:v>256.67041825982216</c:v>
                </c:pt>
                <c:pt idx="6">
                  <c:v>202.58241705156237</c:v>
                </c:pt>
                <c:pt idx="7">
                  <c:v>184.99388634258281</c:v>
                </c:pt>
                <c:pt idx="9" formatCode="General">
                  <c:v>108</c:v>
                </c:pt>
                <c:pt idx="12" formatCode="General">
                  <c:v>287</c:v>
                </c:pt>
                <c:pt idx="15" formatCode="General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86-476C-8FD2-9255F0A00B60}"/>
            </c:ext>
          </c:extLst>
        </c:ser>
        <c:ser>
          <c:idx val="2"/>
          <c:order val="1"/>
          <c:tx>
            <c:strRef>
              <c:f>Tabelle1!$C$1</c:f>
              <c:strCache>
                <c:ptCount val="1"/>
                <c:pt idx="0">
                  <c:v>Industrie</c:v>
                </c:pt>
              </c:strCache>
            </c:strRef>
          </c:tx>
          <c:spPr>
            <a:solidFill>
              <a:srgbClr val="D8DFE4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27</c:f>
              <c:strCache>
                <c:ptCount val="16"/>
                <c:pt idx="0">
                  <c:v>1990</c:v>
                </c:pt>
                <c:pt idx="1">
                  <c:v>2000</c:v>
                </c:pt>
                <c:pt idx="2">
                  <c:v>2010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*</c:v>
                </c:pt>
                <c:pt idx="9">
                  <c:v>2030-
Ziel**</c:v>
                </c:pt>
                <c:pt idx="12">
                  <c:v>2035-
Ziel**</c:v>
                </c:pt>
                <c:pt idx="15">
                  <c:v>2040-
Ziel**</c:v>
                </c:pt>
              </c:strCache>
            </c:strRef>
          </c:cat>
          <c:val>
            <c:numRef>
              <c:f>Tabelle1!$C$2:$C$27</c:f>
              <c:numCache>
                <c:formatCode>0</c:formatCode>
                <c:ptCount val="19"/>
                <c:pt idx="0">
                  <c:v>277.7030828141236</c:v>
                </c:pt>
                <c:pt idx="1">
                  <c:v>202.59785035506664</c:v>
                </c:pt>
                <c:pt idx="2">
                  <c:v>184.05948457331422</c:v>
                </c:pt>
                <c:pt idx="3">
                  <c:v>172.5772476282672</c:v>
                </c:pt>
                <c:pt idx="4">
                  <c:v>180.29299681195212</c:v>
                </c:pt>
                <c:pt idx="5">
                  <c:v>164.3651491960417</c:v>
                </c:pt>
                <c:pt idx="6">
                  <c:v>152.92373867221883</c:v>
                </c:pt>
                <c:pt idx="7">
                  <c:v>153.00727310826122</c:v>
                </c:pt>
                <c:pt idx="9" formatCode="General">
                  <c:v>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686-476C-8FD2-9255F0A00B60}"/>
            </c:ext>
          </c:extLst>
        </c:ser>
        <c:ser>
          <c:idx val="3"/>
          <c:order val="2"/>
          <c:tx>
            <c:strRef>
              <c:f>Tabelle1!$D$1</c:f>
              <c:strCache>
                <c:ptCount val="1"/>
                <c:pt idx="0">
                  <c:v>Gebäude</c:v>
                </c:pt>
              </c:strCache>
            </c:strRef>
          </c:tx>
          <c:spPr>
            <a:solidFill>
              <a:srgbClr val="6C99C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27</c:f>
              <c:strCache>
                <c:ptCount val="16"/>
                <c:pt idx="0">
                  <c:v>1990</c:v>
                </c:pt>
                <c:pt idx="1">
                  <c:v>2000</c:v>
                </c:pt>
                <c:pt idx="2">
                  <c:v>2010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*</c:v>
                </c:pt>
                <c:pt idx="9">
                  <c:v>2030-
Ziel**</c:v>
                </c:pt>
                <c:pt idx="12">
                  <c:v>2035-
Ziel**</c:v>
                </c:pt>
                <c:pt idx="15">
                  <c:v>2040-
Ziel**</c:v>
                </c:pt>
              </c:strCache>
            </c:strRef>
          </c:cat>
          <c:val>
            <c:numRef>
              <c:f>Tabelle1!$D$2:$D$27</c:f>
              <c:numCache>
                <c:formatCode>0</c:formatCode>
                <c:ptCount val="19"/>
                <c:pt idx="0">
                  <c:v>210.02731690962818</c:v>
                </c:pt>
                <c:pt idx="1">
                  <c:v>166.78955078696234</c:v>
                </c:pt>
                <c:pt idx="2">
                  <c:v>142.93341752797332</c:v>
                </c:pt>
                <c:pt idx="3">
                  <c:v>122.49711358722101</c:v>
                </c:pt>
                <c:pt idx="4">
                  <c:v>119.28678221917644</c:v>
                </c:pt>
                <c:pt idx="5">
                  <c:v>110.51463428514957</c:v>
                </c:pt>
                <c:pt idx="6">
                  <c:v>102.93300019870455</c:v>
                </c:pt>
                <c:pt idx="7">
                  <c:v>100.5362340247776</c:v>
                </c:pt>
                <c:pt idx="9" formatCode="General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686-476C-8FD2-9255F0A00B60}"/>
            </c:ext>
          </c:extLst>
        </c:ser>
        <c:ser>
          <c:idx val="4"/>
          <c:order val="3"/>
          <c:tx>
            <c:strRef>
              <c:f>Tabelle1!$E$1</c:f>
              <c:strCache>
                <c:ptCount val="1"/>
                <c:pt idx="0">
                  <c:v>Verkehr</c:v>
                </c:pt>
              </c:strCache>
            </c:strRef>
          </c:tx>
          <c:spPr>
            <a:solidFill>
              <a:srgbClr val="0068AF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27</c:f>
              <c:strCache>
                <c:ptCount val="16"/>
                <c:pt idx="0">
                  <c:v>1990</c:v>
                </c:pt>
                <c:pt idx="1">
                  <c:v>2000</c:v>
                </c:pt>
                <c:pt idx="2">
                  <c:v>2010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*</c:v>
                </c:pt>
                <c:pt idx="9">
                  <c:v>2030-
Ziel**</c:v>
                </c:pt>
                <c:pt idx="12">
                  <c:v>2035-
Ziel**</c:v>
                </c:pt>
                <c:pt idx="15">
                  <c:v>2040-
Ziel**</c:v>
                </c:pt>
              </c:strCache>
            </c:strRef>
          </c:cat>
          <c:val>
            <c:numRef>
              <c:f>Tabelle1!$E$2:$E$27</c:f>
              <c:numCache>
                <c:formatCode>0</c:formatCode>
                <c:ptCount val="19"/>
                <c:pt idx="0">
                  <c:v>163.35536656567436</c:v>
                </c:pt>
                <c:pt idx="1">
                  <c:v>180.58638104834094</c:v>
                </c:pt>
                <c:pt idx="2">
                  <c:v>150.44816555507819</c:v>
                </c:pt>
                <c:pt idx="3">
                  <c:v>146.38574268349811</c:v>
                </c:pt>
                <c:pt idx="4">
                  <c:v>144.5990299664432</c:v>
                </c:pt>
                <c:pt idx="5">
                  <c:v>147.69087538349461</c:v>
                </c:pt>
                <c:pt idx="6">
                  <c:v>145.13115862852723</c:v>
                </c:pt>
                <c:pt idx="7">
                  <c:v>143.05476824815369</c:v>
                </c:pt>
                <c:pt idx="9" formatCode="General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686-476C-8FD2-9255F0A00B60}"/>
            </c:ext>
          </c:extLst>
        </c:ser>
        <c:ser>
          <c:idx val="5"/>
          <c:order val="4"/>
          <c:tx>
            <c:strRef>
              <c:f>Tabelle1!$F$1</c:f>
              <c:strCache>
                <c:ptCount val="1"/>
                <c:pt idx="0">
                  <c:v>Landwirtschaft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27</c:f>
              <c:strCache>
                <c:ptCount val="16"/>
                <c:pt idx="0">
                  <c:v>1990</c:v>
                </c:pt>
                <c:pt idx="1">
                  <c:v>2000</c:v>
                </c:pt>
                <c:pt idx="2">
                  <c:v>2010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*</c:v>
                </c:pt>
                <c:pt idx="9">
                  <c:v>2030-
Ziel**</c:v>
                </c:pt>
                <c:pt idx="12">
                  <c:v>2035-
Ziel**</c:v>
                </c:pt>
                <c:pt idx="15">
                  <c:v>2040-
Ziel**</c:v>
                </c:pt>
              </c:strCache>
            </c:strRef>
          </c:cat>
          <c:val>
            <c:numRef>
              <c:f>Tabelle1!$F$2:$F$27</c:f>
              <c:numCache>
                <c:formatCode>0</c:formatCode>
                <c:ptCount val="19"/>
                <c:pt idx="0">
                  <c:v>84.989159157195388</c:v>
                </c:pt>
                <c:pt idx="1">
                  <c:v>71.957098586081315</c:v>
                </c:pt>
                <c:pt idx="2">
                  <c:v>67.979732572680106</c:v>
                </c:pt>
                <c:pt idx="3">
                  <c:v>66.374140111942722</c:v>
                </c:pt>
                <c:pt idx="4">
                  <c:v>64.911079484091061</c:v>
                </c:pt>
                <c:pt idx="5">
                  <c:v>63.902022380878968</c:v>
                </c:pt>
                <c:pt idx="6">
                  <c:v>62.959986688698208</c:v>
                </c:pt>
                <c:pt idx="7">
                  <c:v>62.110993623271767</c:v>
                </c:pt>
                <c:pt idx="9" formatCode="General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686-476C-8FD2-9255F0A00B60}"/>
            </c:ext>
          </c:extLst>
        </c:ser>
        <c:ser>
          <c:idx val="6"/>
          <c:order val="5"/>
          <c:tx>
            <c:strRef>
              <c:f>Tabelle1!$G$1</c:f>
              <c:strCache>
                <c:ptCount val="1"/>
                <c:pt idx="0">
                  <c:v>Sonstige</c:v>
                </c:pt>
              </c:strCache>
            </c:strRef>
          </c:tx>
          <c:spPr>
            <a:solidFill>
              <a:srgbClr val="57687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27</c:f>
              <c:strCache>
                <c:ptCount val="16"/>
                <c:pt idx="0">
                  <c:v>1990</c:v>
                </c:pt>
                <c:pt idx="1">
                  <c:v>2000</c:v>
                </c:pt>
                <c:pt idx="2">
                  <c:v>2010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*</c:v>
                </c:pt>
                <c:pt idx="9">
                  <c:v>2030-
Ziel**</c:v>
                </c:pt>
                <c:pt idx="12">
                  <c:v>2035-
Ziel**</c:v>
                </c:pt>
                <c:pt idx="15">
                  <c:v>2040-
Ziel**</c:v>
                </c:pt>
              </c:strCache>
            </c:strRef>
          </c:cat>
          <c:val>
            <c:numRef>
              <c:f>Tabelle1!$G$2:$G$27</c:f>
              <c:numCache>
                <c:formatCode>0</c:formatCode>
                <c:ptCount val="19"/>
                <c:pt idx="0">
                  <c:v>41.550208209684953</c:v>
                </c:pt>
                <c:pt idx="1">
                  <c:v>29.572460032452174</c:v>
                </c:pt>
                <c:pt idx="2">
                  <c:v>12.191951804297188</c:v>
                </c:pt>
                <c:pt idx="3">
                  <c:v>6.1214434396600081</c:v>
                </c:pt>
                <c:pt idx="4">
                  <c:v>5.9154360453990105</c:v>
                </c:pt>
                <c:pt idx="5">
                  <c:v>5.6496139083900427</c:v>
                </c:pt>
                <c:pt idx="6">
                  <c:v>5.4900232878830186</c:v>
                </c:pt>
                <c:pt idx="7">
                  <c:v>5.355503945398727</c:v>
                </c:pt>
                <c:pt idx="9" formatCode="General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686-476C-8FD2-9255F0A00B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448325960"/>
        <c:axId val="448330552"/>
      </c:barChart>
      <c:lineChart>
        <c:grouping val="standard"/>
        <c:varyColors val="0"/>
        <c:ser>
          <c:idx val="7"/>
          <c:order val="6"/>
          <c:tx>
            <c:strRef>
              <c:f>Tabelle1!$H$1</c:f>
              <c:strCache>
                <c:ptCount val="1"/>
                <c:pt idx="0">
                  <c:v>  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27</c:f>
              <c:strCache>
                <c:ptCount val="16"/>
                <c:pt idx="0">
                  <c:v>1990</c:v>
                </c:pt>
                <c:pt idx="1">
                  <c:v>2000</c:v>
                </c:pt>
                <c:pt idx="2">
                  <c:v>2010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*</c:v>
                </c:pt>
                <c:pt idx="9">
                  <c:v>2030-
Ziel**</c:v>
                </c:pt>
                <c:pt idx="12">
                  <c:v>2035-
Ziel**</c:v>
                </c:pt>
                <c:pt idx="15">
                  <c:v>2040-
Ziel**</c:v>
                </c:pt>
              </c:strCache>
            </c:strRef>
          </c:cat>
          <c:val>
            <c:numRef>
              <c:f>Tabelle1!$H$2:$H$27</c:f>
              <c:numCache>
                <c:formatCode>0</c:formatCode>
                <c:ptCount val="19"/>
                <c:pt idx="0">
                  <c:v>1252.3973379769336</c:v>
                </c:pt>
                <c:pt idx="1">
                  <c:v>1042.3470185475874</c:v>
                </c:pt>
                <c:pt idx="2">
                  <c:v>930.24982622466905</c:v>
                </c:pt>
                <c:pt idx="3">
                  <c:v>732.993341731275</c:v>
                </c:pt>
                <c:pt idx="4">
                  <c:v>761.42675498079984</c:v>
                </c:pt>
                <c:pt idx="5">
                  <c:v>748.79271341377705</c:v>
                </c:pt>
                <c:pt idx="6">
                  <c:v>672.0203245275942</c:v>
                </c:pt>
                <c:pt idx="7">
                  <c:v>649.05865929244578</c:v>
                </c:pt>
                <c:pt idx="9">
                  <c:v>438</c:v>
                </c:pt>
                <c:pt idx="12">
                  <c:v>287</c:v>
                </c:pt>
                <c:pt idx="15">
                  <c:v>1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5686-476C-8FD2-9255F0A00B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8325960"/>
        <c:axId val="448330552"/>
      </c:lineChart>
      <c:catAx>
        <c:axId val="448325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48330552"/>
        <c:crosses val="autoZero"/>
        <c:auto val="1"/>
        <c:lblAlgn val="ctr"/>
        <c:lblOffset val="100"/>
        <c:noMultiLvlLbl val="0"/>
      </c:catAx>
      <c:valAx>
        <c:axId val="4483305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rgbClr val="B5C0C9"/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crossAx val="448325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75850082341156E-2"/>
          <c:y val="2.6873905290896755E-2"/>
          <c:w val="0.71102013712430723"/>
          <c:h val="0.81573414545626677"/>
        </c:manualLayout>
      </c:layout>
      <c:barChart>
        <c:barDir val="col"/>
        <c:grouping val="clustered"/>
        <c:varyColors val="0"/>
        <c:ser>
          <c:idx val="2"/>
          <c:order val="1"/>
          <c:tx>
            <c:strRef>
              <c:f>Sheet1!$C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E2A58C"/>
            </a:solidFill>
            <a:ln w="28031"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4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C$2:$C$14</c:f>
              <c:numCache>
                <c:formatCode>General</c:formatCode>
                <c:ptCount val="12"/>
                <c:pt idx="0">
                  <c:v>2.0584832898751451</c:v>
                </c:pt>
                <c:pt idx="1">
                  <c:v>7.0872650750485651</c:v>
                </c:pt>
                <c:pt idx="2">
                  <c:v>8.0458564474421816</c:v>
                </c:pt>
                <c:pt idx="3">
                  <c:v>10.417804388190891</c:v>
                </c:pt>
                <c:pt idx="4">
                  <c:v>15.286176467831597</c:v>
                </c:pt>
                <c:pt idx="5">
                  <c:v>17.015677784286733</c:v>
                </c:pt>
                <c:pt idx="6">
                  <c:v>19.176515031768528</c:v>
                </c:pt>
                <c:pt idx="7">
                  <c:v>20.288587914443806</c:v>
                </c:pt>
                <c:pt idx="8">
                  <c:v>15.734033680674459</c:v>
                </c:pt>
                <c:pt idx="9">
                  <c:v>11.565570387894214</c:v>
                </c:pt>
                <c:pt idx="10">
                  <c:v>5.7072600310058208</c:v>
                </c:pt>
                <c:pt idx="11">
                  <c:v>3.4502629453726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2D-43CA-8919-700BFABBDE6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 w="28031">
              <a:noFill/>
            </a:ln>
            <a:effectLst/>
          </c:spPr>
          <c:invertIfNegative val="0"/>
          <c:dPt>
            <c:idx val="11"/>
            <c:invertIfNegative val="0"/>
            <c:bubble3D val="0"/>
            <c:spPr>
              <a:solidFill>
                <a:srgbClr val="C00000"/>
              </a:solidFill>
              <a:ln w="28031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EBE-495B-8AF0-0C1939FC29DA}"/>
              </c:ext>
            </c:extLst>
          </c:dPt>
          <c:dLbls>
            <c:delete val="1"/>
          </c:dLbls>
          <c:cat>
            <c:strRef>
              <c:f>Sheet1!$A$2:$A$14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D$2:$D$14</c:f>
              <c:numCache>
                <c:formatCode>General</c:formatCode>
                <c:ptCount val="12"/>
                <c:pt idx="0">
                  <c:v>2.4205644262693524</c:v>
                </c:pt>
                <c:pt idx="1">
                  <c:v>2.2526468590706874</c:v>
                </c:pt>
                <c:pt idx="2">
                  <c:v>6.699718788069454</c:v>
                </c:pt>
                <c:pt idx="3">
                  <c:v>11.006129939624904</c:v>
                </c:pt>
                <c:pt idx="4">
                  <c:v>13.466418357340299</c:v>
                </c:pt>
                <c:pt idx="5">
                  <c:v>18.959074165096663</c:v>
                </c:pt>
                <c:pt idx="6">
                  <c:v>18.796726649775284</c:v>
                </c:pt>
                <c:pt idx="7">
                  <c:v>18.688299275641903</c:v>
                </c:pt>
                <c:pt idx="8">
                  <c:v>15.032518206799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2D-43CA-8919-700BFABBDE6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30"/>
        <c:axId val="30595712"/>
        <c:axId val="30601600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urchschnitt 2005-2024</c:v>
                </c:pt>
              </c:strCache>
            </c:strRef>
          </c:tx>
          <c:spPr>
            <a:ln w="44450">
              <a:solidFill>
                <a:srgbClr val="002060"/>
              </a:solidFill>
              <a:prstDash val="solid"/>
            </a:ln>
            <a:effectLst/>
          </c:spPr>
          <c:marker>
            <c:symbol val="circle"/>
            <c:size val="8"/>
            <c:spPr>
              <a:solidFill>
                <a:srgbClr val="002060"/>
              </a:solidFill>
              <a:ln>
                <a:solidFill>
                  <a:srgbClr val="002060"/>
                </a:solidFill>
              </a:ln>
              <a:effectLst/>
            </c:spPr>
          </c:marker>
          <c:dLbls>
            <c:delete val="1"/>
          </c:dLbls>
          <c:cat>
            <c:strRef>
              <c:f>Sheet1!$A$2:$A$14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2"/>
                <c:pt idx="0">
                  <c:v>1.9000832681743014</c:v>
                </c:pt>
                <c:pt idx="1">
                  <c:v>2.6096899941273146</c:v>
                </c:pt>
                <c:pt idx="2">
                  <c:v>5.5110662398577066</c:v>
                </c:pt>
                <c:pt idx="3">
                  <c:v>9.736903664795646</c:v>
                </c:pt>
                <c:pt idx="4">
                  <c:v>13.617763502373709</c:v>
                </c:pt>
                <c:pt idx="5">
                  <c:v>17.465106875943853</c:v>
                </c:pt>
                <c:pt idx="6">
                  <c:v>19.17796659471405</c:v>
                </c:pt>
                <c:pt idx="7">
                  <c:v>18.495378673064657</c:v>
                </c:pt>
                <c:pt idx="8">
                  <c:v>15.007346462199925</c:v>
                </c:pt>
                <c:pt idx="9">
                  <c:v>10.698142300573723</c:v>
                </c:pt>
                <c:pt idx="10">
                  <c:v>6.0041763135818789</c:v>
                </c:pt>
                <c:pt idx="11">
                  <c:v>3.0940783457151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22D-43CA-8919-700BFABBDE6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0595712"/>
        <c:axId val="30601600"/>
      </c:lineChart>
      <c:catAx>
        <c:axId val="30595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 w="9525">
            <a:solidFill>
              <a:srgbClr val="B5C0C9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endParaRPr lang="de-DE"/>
          </a:p>
        </c:txPr>
        <c:crossAx val="30601600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30601600"/>
        <c:scaling>
          <c:orientation val="minMax"/>
        </c:scaling>
        <c:delete val="0"/>
        <c:axPos val="l"/>
        <c:majorGridlines>
          <c:spPr>
            <a:ln w="9525">
              <a:solidFill>
                <a:srgbClr val="B5C0C9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Calibri" panose="020F0502020204030204" pitchFamily="34" charset="0"/>
                    <a:ea typeface="Arial"/>
                    <a:cs typeface="Calibri" panose="020F0502020204030204" pitchFamily="34" charset="0"/>
                  </a:defRPr>
                </a:pPr>
                <a:r>
                  <a:rPr lang="de-DE" sz="1400" b="1">
                    <a:latin typeface="Calibri" panose="020F0502020204030204" pitchFamily="34" charset="0"/>
                    <a:cs typeface="Calibri" panose="020F0502020204030204" pitchFamily="34" charset="0"/>
                  </a:rPr>
                  <a:t>Durchschnittliche Temperatur </a:t>
                </a:r>
                <a:br>
                  <a:rPr lang="de-DE" sz="1400" b="1"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de-DE" sz="1400" b="1">
                    <a:latin typeface="Calibri" panose="020F0502020204030204" pitchFamily="34" charset="0"/>
                    <a:cs typeface="Calibri" panose="020F0502020204030204" pitchFamily="34" charset="0"/>
                  </a:rPr>
                  <a:t>in °C</a:t>
                </a:r>
              </a:p>
            </c:rich>
          </c:tx>
          <c:layout>
            <c:manualLayout>
              <c:xMode val="edge"/>
              <c:yMode val="edge"/>
              <c:x val="0"/>
              <c:y val="5.3675855648304561E-3"/>
            </c:manualLayout>
          </c:layout>
          <c:overlay val="0"/>
          <c:spPr>
            <a:noFill/>
            <a:ln w="28031">
              <a:noFill/>
            </a:ln>
          </c:spPr>
        </c:title>
        <c:numFmt formatCode="0" sourceLinked="0"/>
        <c:majorTickMark val="out"/>
        <c:minorTickMark val="none"/>
        <c:tickLblPos val="nextTo"/>
        <c:spPr>
          <a:ln w="10511">
            <a:noFill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endParaRPr lang="de-DE"/>
          </a:p>
        </c:txPr>
        <c:crossAx val="30595712"/>
        <c:crosses val="autoZero"/>
        <c:crossBetween val="between"/>
      </c:valAx>
      <c:spPr>
        <a:noFill/>
        <a:ln w="28031">
          <a:noFill/>
        </a:ln>
      </c:spPr>
    </c:plotArea>
    <c:legend>
      <c:legendPos val="r"/>
      <c:layout>
        <c:manualLayout>
          <c:xMode val="edge"/>
          <c:yMode val="edge"/>
          <c:x val="0.81808710849037058"/>
          <c:y val="0.36282391554763072"/>
          <c:w val="0.18039226814504786"/>
          <c:h val="0.45471289034762441"/>
        </c:manualLayout>
      </c:layout>
      <c:overlay val="0"/>
      <c:spPr>
        <a:noFill/>
        <a:ln w="28031">
          <a:noFill/>
        </a:ln>
      </c:spPr>
      <c:txPr>
        <a:bodyPr/>
        <a:lstStyle/>
        <a:p>
          <a:pPr>
            <a:defRPr lang="en-US" sz="1200" b="0" i="0" u="none" strike="noStrike" kern="1200" baseline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73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423999259460674E-2"/>
          <c:y val="2.6873905290896755E-2"/>
          <c:w val="0.71081814565847667"/>
          <c:h val="0.81331576538904582"/>
        </c:manualLayout>
      </c:layout>
      <c:barChart>
        <c:barDir val="col"/>
        <c:grouping val="clustered"/>
        <c:varyColors val="0"/>
        <c:ser>
          <c:idx val="2"/>
          <c:order val="1"/>
          <c:tx>
            <c:strRef>
              <c:f>Sheet1!$C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B5C0C9"/>
            </a:solidFill>
            <a:ln w="27973"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C$2:$C$13</c:f>
              <c:numCache>
                <c:formatCode>#,##0</c:formatCode>
                <c:ptCount val="12"/>
                <c:pt idx="0">
                  <c:v>555.94647228049644</c:v>
                </c:pt>
                <c:pt idx="1">
                  <c:v>375.55521982476358</c:v>
                </c:pt>
                <c:pt idx="2">
                  <c:v>369.20898660155098</c:v>
                </c:pt>
                <c:pt idx="3">
                  <c:v>267.62170559308265</c:v>
                </c:pt>
                <c:pt idx="4">
                  <c:v>89.25801713916637</c:v>
                </c:pt>
                <c:pt idx="5">
                  <c:v>54.976107006897806</c:v>
                </c:pt>
                <c:pt idx="6">
                  <c:v>14.717699394992291</c:v>
                </c:pt>
                <c:pt idx="7">
                  <c:v>0.81456809466551572</c:v>
                </c:pt>
                <c:pt idx="8">
                  <c:v>99.163269765671956</c:v>
                </c:pt>
                <c:pt idx="9">
                  <c:v>252.90930624187982</c:v>
                </c:pt>
                <c:pt idx="10">
                  <c:v>428.52449181952443</c:v>
                </c:pt>
                <c:pt idx="11">
                  <c:v>511.87353584228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DD-4BF9-B451-9B2D25B5EEF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rgbClr val="576874"/>
            </a:solidFill>
            <a:ln w="27973"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D$2:$D$13</c:f>
              <c:numCache>
                <c:formatCode>#,##0</c:formatCode>
                <c:ptCount val="12"/>
                <c:pt idx="0">
                  <c:v>545.45461336501012</c:v>
                </c:pt>
                <c:pt idx="1">
                  <c:v>497.42286627525584</c:v>
                </c:pt>
                <c:pt idx="2">
                  <c:v>411.4524232309218</c:v>
                </c:pt>
                <c:pt idx="3">
                  <c:v>255.5406149156336</c:v>
                </c:pt>
                <c:pt idx="4">
                  <c:v>176.79764784997829</c:v>
                </c:pt>
                <c:pt idx="5">
                  <c:v>23.07498602865568</c:v>
                </c:pt>
                <c:pt idx="6">
                  <c:v>7.9469827371057047</c:v>
                </c:pt>
                <c:pt idx="7">
                  <c:v>18.60029177549826</c:v>
                </c:pt>
                <c:pt idx="8">
                  <c:v>106.987741708578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DD-4BF9-B451-9B2D25B5EEF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30"/>
        <c:axId val="185506432"/>
        <c:axId val="18554956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angjähriges Mittel 2005-2024</c:v>
                </c:pt>
              </c:strCache>
            </c:strRef>
          </c:tx>
          <c:spPr>
            <a:ln w="41959">
              <a:solidFill>
                <a:srgbClr val="002060"/>
              </a:solidFill>
              <a:prstDash val="solid"/>
            </a:ln>
            <a:effectLst/>
          </c:spPr>
          <c:marker>
            <c:symbol val="circle"/>
            <c:size val="8"/>
            <c:spPr>
              <a:solidFill>
                <a:srgbClr val="002060"/>
              </a:solidFill>
              <a:ln>
                <a:solidFill>
                  <a:srgbClr val="002060"/>
                </a:solidFill>
              </a:ln>
              <a:effectLst/>
            </c:spPr>
          </c:marker>
          <c:dLbls>
            <c:delete val="1"/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B$2:$B$13</c:f>
              <c:numCache>
                <c:formatCode>#,##0</c:formatCode>
                <c:ptCount val="12"/>
                <c:pt idx="0">
                  <c:v>561.15637133869279</c:v>
                </c:pt>
                <c:pt idx="1">
                  <c:v>490.8839370694883</c:v>
                </c:pt>
                <c:pt idx="2">
                  <c:v>448.6410424167666</c:v>
                </c:pt>
                <c:pt idx="3">
                  <c:v>296.29459803297652</c:v>
                </c:pt>
                <c:pt idx="4">
                  <c:v>168.98745774275636</c:v>
                </c:pt>
                <c:pt idx="5">
                  <c:v>52.051582870509755</c:v>
                </c:pt>
                <c:pt idx="6">
                  <c:v>18.822574693869537</c:v>
                </c:pt>
                <c:pt idx="7">
                  <c:v>25.485380619148163</c:v>
                </c:pt>
                <c:pt idx="8">
                  <c:v>115.06894446756402</c:v>
                </c:pt>
                <c:pt idx="9">
                  <c:v>275.57187771907962</c:v>
                </c:pt>
                <c:pt idx="10">
                  <c:v>418.99238034984211</c:v>
                </c:pt>
                <c:pt idx="11">
                  <c:v>524.593280883346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5DD-4BF9-B451-9B2D25B5EEF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85506432"/>
        <c:axId val="185549568"/>
      </c:lineChart>
      <c:catAx>
        <c:axId val="185506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B5C0C9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endParaRPr lang="de-DE"/>
          </a:p>
        </c:txPr>
        <c:crossAx val="18554956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85549568"/>
        <c:scaling>
          <c:orientation val="minMax"/>
        </c:scaling>
        <c:delete val="0"/>
        <c:axPos val="l"/>
        <c:majorGridlines>
          <c:spPr>
            <a:ln w="9525">
              <a:solidFill>
                <a:srgbClr val="B5C0C9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Calibri" panose="020F0502020204030204" pitchFamily="34" charset="0"/>
                    <a:ea typeface="Arial"/>
                    <a:cs typeface="Calibri" panose="020F0502020204030204" pitchFamily="34" charset="0"/>
                  </a:defRPr>
                </a:pPr>
                <a:r>
                  <a:rPr lang="de-DE" sz="1400" b="1">
                    <a:latin typeface="Calibri" panose="020F0502020204030204" pitchFamily="34" charset="0"/>
                    <a:cs typeface="Calibri" panose="020F0502020204030204" pitchFamily="34" charset="0"/>
                  </a:rPr>
                  <a:t>Gradtagzahl*</a:t>
                </a:r>
              </a:p>
            </c:rich>
          </c:tx>
          <c:layout>
            <c:manualLayout>
              <c:xMode val="edge"/>
              <c:yMode val="edge"/>
              <c:x val="0"/>
              <c:y val="0.23263377147996778"/>
            </c:manualLayout>
          </c:layout>
          <c:overlay val="0"/>
          <c:spPr>
            <a:noFill/>
            <a:ln w="27973">
              <a:noFill/>
            </a:ln>
          </c:spPr>
        </c:title>
        <c:numFmt formatCode="0" sourceLinked="0"/>
        <c:majorTickMark val="out"/>
        <c:minorTickMark val="none"/>
        <c:tickLblPos val="nextTo"/>
        <c:spPr>
          <a:ln w="10490">
            <a:noFill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endParaRPr lang="de-DE"/>
          </a:p>
        </c:txPr>
        <c:crossAx val="185506432"/>
        <c:crosses val="autoZero"/>
        <c:crossBetween val="between"/>
      </c:valAx>
      <c:spPr>
        <a:noFill/>
        <a:ln w="27973">
          <a:noFill/>
        </a:ln>
      </c:spPr>
    </c:plotArea>
    <c:legend>
      <c:legendPos val="r"/>
      <c:layout>
        <c:manualLayout>
          <c:xMode val="edge"/>
          <c:yMode val="edge"/>
          <c:x val="0.82791799840945191"/>
          <c:y val="0.42082022312341227"/>
          <c:w val="0.17208200159054809"/>
          <c:h val="0.41888028024553048"/>
        </c:manualLayout>
      </c:layout>
      <c:overlay val="0"/>
      <c:spPr>
        <a:noFill/>
        <a:ln w="27973">
          <a:noFill/>
        </a:ln>
      </c:spPr>
      <c:txPr>
        <a:bodyPr/>
        <a:lstStyle/>
        <a:p>
          <a:pPr>
            <a:defRPr lang="en-US" sz="1200" b="0" i="0" u="none" strike="noStrike" kern="1200" baseline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69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i="0" u="none" strike="noStrike" kern="1200" baseline="0">
                <a:solidFill>
                  <a:schemeClr val="bg2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r>
              <a:rPr lang="de-DE" sz="1600" b="0" dirty="0">
                <a:solidFill>
                  <a:schemeClr val="bg2"/>
                </a:solidFill>
                <a:effectLst/>
              </a:rPr>
              <a:t>2025 bisher</a:t>
            </a:r>
            <a:r>
              <a:rPr lang="de-DE" sz="1600" b="0">
                <a:solidFill>
                  <a:schemeClr val="bg2"/>
                </a:solidFill>
                <a:effectLst/>
              </a:rPr>
              <a:t>: 595 </a:t>
            </a:r>
            <a:r>
              <a:rPr lang="de-DE" sz="1600" b="0" dirty="0">
                <a:solidFill>
                  <a:schemeClr val="bg2"/>
                </a:solidFill>
                <a:effectLst/>
              </a:rPr>
              <a:t>Mrd. kWh* </a:t>
            </a:r>
            <a:br>
              <a:rPr lang="de-DE" sz="1600" b="0" dirty="0">
                <a:solidFill>
                  <a:schemeClr val="bg2"/>
                </a:solidFill>
                <a:effectLst/>
              </a:rPr>
            </a:br>
            <a:r>
              <a:rPr lang="de-DE" sz="1600" b="0" dirty="0">
                <a:solidFill>
                  <a:schemeClr val="bg2"/>
                </a:solidFill>
                <a:effectLst/>
              </a:rPr>
              <a:t>(Veränderung gegenüber </a:t>
            </a:r>
            <a:r>
              <a:rPr lang="de-DE" sz="1600" b="0">
                <a:solidFill>
                  <a:schemeClr val="bg2"/>
                </a:solidFill>
                <a:effectLst/>
              </a:rPr>
              <a:t>Vorjahreszeitraum bisher </a:t>
            </a:r>
            <a:r>
              <a:rPr lang="de-DE" sz="1600" b="0" dirty="0">
                <a:solidFill>
                  <a:schemeClr val="bg2"/>
                </a:solidFill>
                <a:effectLst/>
              </a:rPr>
              <a:t>gesamt</a:t>
            </a:r>
            <a:r>
              <a:rPr lang="de-DE" sz="1600" b="0">
                <a:solidFill>
                  <a:schemeClr val="bg2"/>
                </a:solidFill>
                <a:effectLst/>
              </a:rPr>
              <a:t>: +3,7 %)</a:t>
            </a:r>
            <a:endParaRPr lang="de-DE" sz="1600" b="0" dirty="0">
              <a:solidFill>
                <a:schemeClr val="bg2"/>
              </a:solidFill>
              <a:effectLst/>
            </a:endParaRPr>
          </a:p>
        </c:rich>
      </c:tx>
      <c:layout>
        <c:manualLayout>
          <c:xMode val="edge"/>
          <c:yMode val="edge"/>
          <c:x val="1.5164381899793764E-3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031875618277078"/>
          <c:y val="0.1837275282170294"/>
          <c:w val="0.70967719919854766"/>
          <c:h val="0.6464757516654529"/>
        </c:manualLayout>
      </c:layout>
      <c:barChart>
        <c:barDir val="col"/>
        <c:grouping val="clustered"/>
        <c:varyColors val="0"/>
        <c:ser>
          <c:idx val="13"/>
          <c:order val="0"/>
          <c:tx>
            <c:v/>
          </c:tx>
          <c:spPr>
            <a:noFill/>
          </c:spPr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O$2:$O$13</c:f>
              <c:numCache>
                <c:formatCode>\+0.0%;\-0.0%;\±0.0%</c:formatCode>
                <c:ptCount val="12"/>
                <c:pt idx="0">
                  <c:v>9.4669668843563315E-3</c:v>
                </c:pt>
                <c:pt idx="1">
                  <c:v>0.31774174435795244</c:v>
                </c:pt>
                <c:pt idx="2">
                  <c:v>1.6144472999361392E-2</c:v>
                </c:pt>
                <c:pt idx="3">
                  <c:v>-0.11593977874595918</c:v>
                </c:pt>
                <c:pt idx="4">
                  <c:v>4.1359809384498902E-2</c:v>
                </c:pt>
                <c:pt idx="5">
                  <c:v>-7.1802449818882064E-2</c:v>
                </c:pt>
                <c:pt idx="6">
                  <c:v>-2.2575245857982873E-2</c:v>
                </c:pt>
                <c:pt idx="7">
                  <c:v>6.3677670122299856E-2</c:v>
                </c:pt>
                <c:pt idx="8">
                  <c:v>-3.0343288951402481E-2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FC0-4AA9-9962-5D3E10683495}"/>
            </c:ext>
          </c:extLst>
        </c:ser>
        <c:ser>
          <c:idx val="11"/>
          <c:order val="1"/>
          <c:tx>
            <c:strRef>
              <c:f>Sheet1!$M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A8CB88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M$2:$M$13</c:f>
              <c:numCache>
                <c:formatCode>0.0</c:formatCode>
                <c:ptCount val="12"/>
                <c:pt idx="0">
                  <c:v>122.99354068216559</c:v>
                </c:pt>
                <c:pt idx="1">
                  <c:v>87.242773534563071</c:v>
                </c:pt>
                <c:pt idx="2">
                  <c:v>85.263779606510198</c:v>
                </c:pt>
                <c:pt idx="3">
                  <c:v>68.332048917220646</c:v>
                </c:pt>
                <c:pt idx="4">
                  <c:v>47.084407369702596</c:v>
                </c:pt>
                <c:pt idx="5">
                  <c:v>41.478968729831934</c:v>
                </c:pt>
                <c:pt idx="6">
                  <c:v>39.787357397505737</c:v>
                </c:pt>
                <c:pt idx="7">
                  <c:v>36.974907240771145</c:v>
                </c:pt>
                <c:pt idx="8">
                  <c:v>44.719482491949293</c:v>
                </c:pt>
                <c:pt idx="9">
                  <c:v>62.804589223690222</c:v>
                </c:pt>
                <c:pt idx="10">
                  <c:v>96.954925187476334</c:v>
                </c:pt>
                <c:pt idx="11">
                  <c:v>110.21275609365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FC0-4AA9-9962-5D3E10683495}"/>
            </c:ext>
          </c:extLst>
        </c:ser>
        <c:ser>
          <c:idx val="12"/>
          <c:order val="2"/>
          <c:tx>
            <c:strRef>
              <c:f>Sheet1!$N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rgbClr val="46AA28"/>
            </a:solidFill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4FC0-4AA9-9962-5D3E10683495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bg1"/>
                    </a:solidFill>
                    <a:latin typeface="+mn-lt"/>
                  </a:defRPr>
                </a:pPr>
                <a:endParaRPr lang="de-DE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N$2:$N$13</c:f>
              <c:numCache>
                <c:formatCode>0.0</c:formatCode>
                <c:ptCount val="12"/>
                <c:pt idx="0">
                  <c:v>124.15791645879338</c:v>
                </c:pt>
                <c:pt idx="1">
                  <c:v>114.96344458006095</c:v>
                </c:pt>
                <c:pt idx="2">
                  <c:v>86.640318394190999</c:v>
                </c:pt>
                <c:pt idx="3">
                  <c:v>60.409646284500027</c:v>
                </c:pt>
                <c:pt idx="4">
                  <c:v>49.031809483495593</c:v>
                </c:pt>
                <c:pt idx="5">
                  <c:v>38.500677159069198</c:v>
                </c:pt>
                <c:pt idx="6">
                  <c:v>38.889148022217611</c:v>
                </c:pt>
                <c:pt idx="7">
                  <c:v>39.329383186851608</c:v>
                </c:pt>
                <c:pt idx="8">
                  <c:v>43.362546312938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4FC0-4AA9-9962-5D3E10683495}"/>
            </c:ext>
          </c:extLst>
        </c:ser>
        <c:ser>
          <c:idx val="1"/>
          <c:order val="4"/>
          <c:tx>
            <c:strRef>
              <c:f>Sheet1!$B$1</c:f>
              <c:strCache>
                <c:ptCount val="1"/>
                <c:pt idx="0">
                  <c:v>2015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B$2:$B$13</c:f>
            </c:numRef>
          </c:val>
          <c:extLst>
            <c:ext xmlns:c16="http://schemas.microsoft.com/office/drawing/2014/chart" uri="{C3380CC4-5D6E-409C-BE32-E72D297353CC}">
              <c16:uniqueId val="{00000010-4FC0-4AA9-9962-5D3E10683495}"/>
            </c:ext>
          </c:extLst>
        </c:ser>
        <c:ser>
          <c:idx val="0"/>
          <c:order val="5"/>
          <c:tx>
            <c:strRef>
              <c:f>Sheet1!$C$1</c:f>
              <c:strCache>
                <c:ptCount val="1"/>
                <c:pt idx="0">
                  <c:v>2016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C$2:$C$13</c:f>
            </c:numRef>
          </c:val>
          <c:extLst>
            <c:ext xmlns:c16="http://schemas.microsoft.com/office/drawing/2014/chart" uri="{C3380CC4-5D6E-409C-BE32-E72D297353CC}">
              <c16:uniqueId val="{00000011-4FC0-4AA9-9962-5D3E10683495}"/>
            </c:ext>
          </c:extLst>
        </c:ser>
        <c:ser>
          <c:idx val="2"/>
          <c:order val="6"/>
          <c:tx>
            <c:strRef>
              <c:f>Sheet1!$D$1</c:f>
              <c:strCache>
                <c:ptCount val="1"/>
                <c:pt idx="0">
                  <c:v>2017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de-DE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D$2:$D$13</c:f>
            </c:numRef>
          </c:val>
          <c:extLst>
            <c:ext xmlns:c16="http://schemas.microsoft.com/office/drawing/2014/chart" uri="{C3380CC4-5D6E-409C-BE32-E72D297353CC}">
              <c16:uniqueId val="{00000016-4FC0-4AA9-9962-5D3E10683495}"/>
            </c:ext>
          </c:extLst>
        </c:ser>
        <c:ser>
          <c:idx val="3"/>
          <c:order val="7"/>
          <c:tx>
            <c:strRef>
              <c:f>Sheet1!$E$1</c:f>
              <c:strCache>
                <c:ptCount val="1"/>
                <c:pt idx="0">
                  <c:v>2018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E$2:$E$13</c:f>
            </c:numRef>
          </c:val>
          <c:extLst>
            <c:ext xmlns:c16="http://schemas.microsoft.com/office/drawing/2014/chart" uri="{C3380CC4-5D6E-409C-BE32-E72D297353CC}">
              <c16:uniqueId val="{00000017-4FC0-4AA9-9962-5D3E10683495}"/>
            </c:ext>
          </c:extLst>
        </c:ser>
        <c:ser>
          <c:idx val="4"/>
          <c:order val="8"/>
          <c:tx>
            <c:strRef>
              <c:f>Sheet1!$F$1</c:f>
              <c:strCache>
                <c:ptCount val="1"/>
                <c:pt idx="0">
                  <c:v>2019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F$2:$F$13</c:f>
            </c:numRef>
          </c:val>
          <c:extLst>
            <c:ext xmlns:c16="http://schemas.microsoft.com/office/drawing/2014/chart" uri="{C3380CC4-5D6E-409C-BE32-E72D297353CC}">
              <c16:uniqueId val="{00000018-4FC0-4AA9-9962-5D3E10683495}"/>
            </c:ext>
          </c:extLst>
        </c:ser>
        <c:ser>
          <c:idx val="5"/>
          <c:order val="9"/>
          <c:tx>
            <c:strRef>
              <c:f>Sheet1!$G$1</c:f>
              <c:strCache>
                <c:ptCount val="1"/>
                <c:pt idx="0">
                  <c:v>2020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G$2:$G$13</c:f>
            </c:numRef>
          </c:val>
          <c:extLst>
            <c:ext xmlns:c16="http://schemas.microsoft.com/office/drawing/2014/chart" uri="{C3380CC4-5D6E-409C-BE32-E72D297353CC}">
              <c16:uniqueId val="{00000019-4FC0-4AA9-9962-5D3E10683495}"/>
            </c:ext>
          </c:extLst>
        </c:ser>
        <c:ser>
          <c:idx val="6"/>
          <c:order val="10"/>
          <c:tx>
            <c:strRef>
              <c:f>Sheet1!$H$1</c:f>
              <c:strCache>
                <c:ptCount val="1"/>
                <c:pt idx="0">
                  <c:v>2021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H$2:$H$13</c:f>
            </c:numRef>
          </c:val>
          <c:extLst>
            <c:ext xmlns:c16="http://schemas.microsoft.com/office/drawing/2014/chart" uri="{C3380CC4-5D6E-409C-BE32-E72D297353CC}">
              <c16:uniqueId val="{0000001A-4FC0-4AA9-9962-5D3E10683495}"/>
            </c:ext>
          </c:extLst>
        </c:ser>
        <c:ser>
          <c:idx val="7"/>
          <c:order val="11"/>
          <c:tx>
            <c:strRef>
              <c:f>Sheet1!$I$1</c:f>
              <c:strCache>
                <c:ptCount val="1"/>
                <c:pt idx="0">
                  <c:v>2022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I$2:$I$13</c:f>
            </c:numRef>
          </c:val>
          <c:extLst>
            <c:ext xmlns:c16="http://schemas.microsoft.com/office/drawing/2014/chart" uri="{C3380CC4-5D6E-409C-BE32-E72D297353CC}">
              <c16:uniqueId val="{0000001B-4FC0-4AA9-9962-5D3E10683495}"/>
            </c:ext>
          </c:extLst>
        </c:ser>
        <c:ser>
          <c:idx val="8"/>
          <c:order val="12"/>
          <c:tx>
            <c:strRef>
              <c:f>Sheet1!$J$1</c:f>
              <c:strCache>
                <c:ptCount val="1"/>
                <c:pt idx="0">
                  <c:v>2023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J$2:$J$13</c:f>
            </c:numRef>
          </c:val>
          <c:extLst>
            <c:ext xmlns:c16="http://schemas.microsoft.com/office/drawing/2014/chart" uri="{C3380CC4-5D6E-409C-BE32-E72D297353CC}">
              <c16:uniqueId val="{0000001C-4FC0-4AA9-9962-5D3E10683495}"/>
            </c:ext>
          </c:extLst>
        </c:ser>
        <c:ser>
          <c:idx val="9"/>
          <c:order val="13"/>
          <c:tx>
            <c:strRef>
              <c:f>Sheet1!$K$1</c:f>
              <c:strCache>
                <c:ptCount val="1"/>
                <c:pt idx="0">
                  <c:v>2024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K$2:$K$13</c:f>
            </c:numRef>
          </c:val>
          <c:extLst>
            <c:ext xmlns:c16="http://schemas.microsoft.com/office/drawing/2014/chart" uri="{C3380CC4-5D6E-409C-BE32-E72D297353CC}">
              <c16:uniqueId val="{0000001D-4FC0-4AA9-9962-5D3E106834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50"/>
        <c:axId val="88618880"/>
        <c:axId val="88620032"/>
      </c:barChart>
      <c:lineChart>
        <c:grouping val="standard"/>
        <c:varyColors val="0"/>
        <c:ser>
          <c:idx val="10"/>
          <c:order val="3"/>
          <c:tx>
            <c:strRef>
              <c:f>Sheet1!$L$1</c:f>
              <c:strCache>
                <c:ptCount val="1"/>
                <c:pt idx="0">
                  <c:v>10-jähriges Mittel</c:v>
                </c:pt>
              </c:strCache>
            </c:strRef>
          </c:tx>
          <c:spPr>
            <a:ln w="38100">
              <a:solidFill>
                <a:srgbClr val="00004D"/>
              </a:solidFill>
            </a:ln>
            <a:effectLst/>
          </c:spPr>
          <c:marker>
            <c:symbol val="circle"/>
            <c:size val="9"/>
            <c:spPr>
              <a:solidFill>
                <a:srgbClr val="00004D"/>
              </a:solidFill>
              <a:ln>
                <a:solidFill>
                  <a:srgbClr val="00004D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5363696804064738E-2"/>
                  <c:y val="-4.4519633396000714E-2"/>
                </c:manualLayout>
              </c:layout>
              <c:tx>
                <c:rich>
                  <a:bodyPr/>
                  <a:lstStyle/>
                  <a:p>
                    <a:fld id="{C44372F8-53E4-4AC4-99D2-708EE5F18DB0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F-4FC0-4AA9-9962-5D3E10683495}"/>
                </c:ext>
              </c:extLst>
            </c:dLbl>
            <c:dLbl>
              <c:idx val="1"/>
              <c:layout>
                <c:manualLayout>
                  <c:x val="-3.5286083825837429E-2"/>
                  <c:y val="-9.2810161010916548E-2"/>
                </c:manualLayout>
              </c:layout>
              <c:tx>
                <c:rich>
                  <a:bodyPr/>
                  <a:lstStyle/>
                  <a:p>
                    <a:fld id="{48F79DE9-A806-4A64-8A89-514A6DEF1097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4FC0-4AA9-9962-5D3E10683495}"/>
                </c:ext>
              </c:extLst>
            </c:dLbl>
            <c:dLbl>
              <c:idx val="2"/>
              <c:layout>
                <c:manualLayout>
                  <c:x val="-2.9456871542640387E-2"/>
                  <c:y val="-5.3592334643650659E-2"/>
                </c:manualLayout>
              </c:layout>
              <c:tx>
                <c:rich>
                  <a:bodyPr/>
                  <a:lstStyle/>
                  <a:p>
                    <a:fld id="{59CB89F3-6AB7-4B6C-99F9-5E30DA33BBD1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4FC0-4AA9-9962-5D3E10683495}"/>
                </c:ext>
              </c:extLst>
            </c:dLbl>
            <c:dLbl>
              <c:idx val="3"/>
              <c:layout>
                <c:manualLayout>
                  <c:x val="-3.0793486432296169E-2"/>
                  <c:y val="-5.4427928986498036E-2"/>
                </c:manualLayout>
              </c:layout>
              <c:tx>
                <c:rich>
                  <a:bodyPr/>
                  <a:lstStyle/>
                  <a:p>
                    <a:fld id="{9350D706-E3D9-4168-B42F-7570A0875F8C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4FC0-4AA9-9962-5D3E10683495}"/>
                </c:ext>
              </c:extLst>
            </c:dLbl>
            <c:dLbl>
              <c:idx val="4"/>
              <c:layout>
                <c:manualLayout>
                  <c:x val="-3.2257386606244817E-2"/>
                  <c:y val="-4.366454452230388E-2"/>
                </c:manualLayout>
              </c:layout>
              <c:tx>
                <c:rich>
                  <a:bodyPr/>
                  <a:lstStyle/>
                  <a:p>
                    <a:fld id="{60F51DD9-BF10-4939-B661-D823392EE186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4FC0-4AA9-9962-5D3E10683495}"/>
                </c:ext>
              </c:extLst>
            </c:dLbl>
            <c:dLbl>
              <c:idx val="5"/>
              <c:layout>
                <c:manualLayout>
                  <c:x val="-3.2563062335878461E-2"/>
                  <c:y val="-4.9469374893180589E-2"/>
                </c:manualLayout>
              </c:layout>
              <c:tx>
                <c:rich>
                  <a:bodyPr/>
                  <a:lstStyle/>
                  <a:p>
                    <a:fld id="{2BF3A0FC-4302-4D8A-B367-80CD7A822ACA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4-4FC0-4AA9-9962-5D3E10683495}"/>
                </c:ext>
              </c:extLst>
            </c:dLbl>
            <c:dLbl>
              <c:idx val="6"/>
              <c:layout>
                <c:manualLayout>
                  <c:x val="-3.0724254948431767E-2"/>
                  <c:y val="-4.953586419766539E-2"/>
                </c:manualLayout>
              </c:layout>
              <c:tx>
                <c:rich>
                  <a:bodyPr/>
                  <a:lstStyle/>
                  <a:p>
                    <a:fld id="{CF7F0EEE-76A6-4DA3-8766-5C9106528CF1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4FC0-4AA9-9962-5D3E10683495}"/>
                </c:ext>
              </c:extLst>
            </c:dLbl>
            <c:dLbl>
              <c:idx val="7"/>
              <c:layout>
                <c:manualLayout>
                  <c:x val="-3.0844352784180629E-2"/>
                  <c:y val="-5.5366336950948621E-2"/>
                </c:manualLayout>
              </c:layout>
              <c:tx>
                <c:rich>
                  <a:bodyPr/>
                  <a:lstStyle/>
                  <a:p>
                    <a:fld id="{1A9D38AA-0003-4D27-BEE6-02C85F9AE767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6-4FC0-4AA9-9962-5D3E1068349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EB1AB04F-98E0-4C32-ABB4-5FABF7B953CD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4FC0-4AA9-9962-5D3E10683495}"/>
                </c:ext>
              </c:extLst>
            </c:dLbl>
            <c:dLbl>
              <c:idx val="9"/>
              <c:layout>
                <c:manualLayout>
                  <c:x val="-4.0268717623447622E-2"/>
                  <c:y val="-6.0109383011451037E-2"/>
                </c:manualLayout>
              </c:layout>
              <c:tx>
                <c:rich>
                  <a:bodyPr/>
                  <a:lstStyle/>
                  <a:p>
                    <a:fld id="{D46064BC-C48C-41FD-A007-5C4A1B331A6D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4FC0-4AA9-9962-5D3E10683495}"/>
                </c:ext>
              </c:extLst>
            </c:dLbl>
            <c:dLbl>
              <c:idx val="10"/>
              <c:layout>
                <c:manualLayout>
                  <c:x val="-4.6102228471592697E-2"/>
                  <c:y val="-5.0333810459750473E-2"/>
                </c:manualLayout>
              </c:layout>
              <c:tx>
                <c:rich>
                  <a:bodyPr/>
                  <a:lstStyle/>
                  <a:p>
                    <a:fld id="{C8AEB837-83EB-4449-90A6-67F82EED0AD5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9-4FC0-4AA9-9962-5D3E10683495}"/>
                </c:ext>
              </c:extLst>
            </c:dLbl>
            <c:dLbl>
              <c:idx val="11"/>
              <c:layout>
                <c:manualLayout>
                  <c:x val="-3.5723582213875685E-2"/>
                  <c:y val="-5.0267315416168148E-2"/>
                </c:manualLayout>
              </c:layout>
              <c:tx>
                <c:rich>
                  <a:bodyPr/>
                  <a:lstStyle/>
                  <a:p>
                    <a:fld id="{44A6C9ED-502C-4E5D-BE49-22A5B4F0744D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4FC0-4AA9-9962-5D3E106834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de-DE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L$2:$L$13</c:f>
              <c:numCache>
                <c:formatCode>#,##0.0</c:formatCode>
                <c:ptCount val="12"/>
                <c:pt idx="0">
                  <c:v>122.47069821062132</c:v>
                </c:pt>
                <c:pt idx="1">
                  <c:v>104.32826076113398</c:v>
                </c:pt>
                <c:pt idx="2">
                  <c:v>98.697206047984238</c:v>
                </c:pt>
                <c:pt idx="3">
                  <c:v>74.173330961493093</c:v>
                </c:pt>
                <c:pt idx="4">
                  <c:v>57.814266344892395</c:v>
                </c:pt>
                <c:pt idx="5">
                  <c:v>45.674645691791831</c:v>
                </c:pt>
                <c:pt idx="6">
                  <c:v>45.369085606570273</c:v>
                </c:pt>
                <c:pt idx="7">
                  <c:v>42.862179904401316</c:v>
                </c:pt>
                <c:pt idx="8">
                  <c:v>49.649627932356509</c:v>
                </c:pt>
                <c:pt idx="9">
                  <c:v>71.326554417482839</c:v>
                </c:pt>
                <c:pt idx="10">
                  <c:v>97.008438593326659</c:v>
                </c:pt>
                <c:pt idx="11">
                  <c:v>111.8608963834335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Sheet1!$O$2:$O$13</c15:f>
                <c15:dlblRangeCache>
                  <c:ptCount val="12"/>
                  <c:pt idx="0">
                    <c:v>+0,9%</c:v>
                  </c:pt>
                  <c:pt idx="1">
                    <c:v>+31,8%</c:v>
                  </c:pt>
                  <c:pt idx="2">
                    <c:v>+1,6%</c:v>
                  </c:pt>
                  <c:pt idx="3">
                    <c:v>-11,6%</c:v>
                  </c:pt>
                  <c:pt idx="4">
                    <c:v>+4,1%</c:v>
                  </c:pt>
                  <c:pt idx="5">
                    <c:v>-7,2%</c:v>
                  </c:pt>
                  <c:pt idx="6">
                    <c:v>-2,3%</c:v>
                  </c:pt>
                  <c:pt idx="7">
                    <c:v>+6,4%</c:v>
                  </c:pt>
                  <c:pt idx="8">
                    <c:v>-3,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E-4FC0-4AA9-9962-5D3E106834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8618880"/>
        <c:axId val="88620032"/>
      </c:lineChart>
      <c:catAx>
        <c:axId val="88618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3">
            <a:solidFill>
              <a:srgbClr val="B5C0C9"/>
            </a:solidFill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endParaRPr lang="de-DE"/>
          </a:p>
        </c:txPr>
        <c:crossAx val="88620032"/>
        <c:crosses val="autoZero"/>
        <c:auto val="0"/>
        <c:lblAlgn val="ctr"/>
        <c:lblOffset val="100"/>
        <c:noMultiLvlLbl val="0"/>
      </c:catAx>
      <c:valAx>
        <c:axId val="88620032"/>
        <c:scaling>
          <c:orientation val="minMax"/>
          <c:min val="0"/>
        </c:scaling>
        <c:delete val="0"/>
        <c:axPos val="l"/>
        <c:majorGridlines>
          <c:spPr>
            <a:ln w="9525">
              <a:solidFill>
                <a:srgbClr val="B5C0C9"/>
              </a:solidFill>
              <a:prstDash val="solid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400"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r>
                  <a:rPr lang="de-DE" sz="1400" b="1">
                    <a:effectLst/>
                    <a:latin typeface="Calibri" panose="020F0502020204030204" pitchFamily="34" charset="0"/>
                    <a:cs typeface="Calibri" panose="020F0502020204030204" pitchFamily="34" charset="0"/>
                  </a:rPr>
                  <a:t>in Mrd. kWh</a:t>
                </a:r>
                <a:endParaRPr lang="de-DE" sz="1400">
                  <a:effectLst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c:rich>
          </c:tx>
          <c:layout>
            <c:manualLayout>
              <c:xMode val="edge"/>
              <c:yMode val="edge"/>
              <c:x val="0"/>
              <c:y val="0.287983386301704"/>
            </c:manualLayout>
          </c:layout>
          <c:overlay val="0"/>
        </c:title>
        <c:numFmt formatCode="#,##0" sourceLinked="0"/>
        <c:majorTickMark val="none"/>
        <c:minorTickMark val="none"/>
        <c:tickLblPos val="nextTo"/>
        <c:spPr>
          <a:ln w="9523">
            <a:noFill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endParaRPr lang="de-DE"/>
          </a:p>
        </c:txPr>
        <c:crossAx val="88618880"/>
        <c:crosses val="autoZero"/>
        <c:crossBetween val="between"/>
      </c:valAx>
      <c:spPr>
        <a:noFill/>
        <a:ln w="25394">
          <a:noFill/>
        </a:ln>
      </c:spPr>
    </c:plotArea>
    <c:legend>
      <c:legendPos val="r"/>
      <c:layout>
        <c:manualLayout>
          <c:xMode val="edge"/>
          <c:yMode val="edge"/>
          <c:x val="0.81370795266862217"/>
          <c:y val="0.33490722729639127"/>
          <c:w val="0.1847714239667963"/>
          <c:h val="0.30089592423090578"/>
        </c:manualLayout>
      </c:layout>
      <c:overlay val="1"/>
      <c:spPr>
        <a:noFill/>
        <a:ln w="25394">
          <a:noFill/>
        </a:ln>
      </c:spPr>
      <c:txPr>
        <a:bodyPr/>
        <a:lstStyle/>
        <a:p>
          <a:pPr algn="just">
            <a:defRPr sz="1200" b="0" i="0" u="none" strike="noStrike" baseline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600" b="0">
                <a:solidFill>
                  <a:schemeClr val="bg2"/>
                </a:solidFill>
              </a:defRPr>
            </a:pPr>
            <a:r>
              <a:rPr lang="de-DE" sz="1600" b="0">
                <a:solidFill>
                  <a:schemeClr val="bg2"/>
                </a:solidFill>
              </a:rPr>
              <a:t>2025 bisher: 89 Mrd. kWh** </a:t>
            </a:r>
            <a:br>
              <a:rPr lang="de-DE" sz="1600" b="0">
                <a:solidFill>
                  <a:schemeClr val="bg2"/>
                </a:solidFill>
              </a:rPr>
            </a:br>
            <a:r>
              <a:rPr lang="de-DE" sz="1600" b="0">
                <a:solidFill>
                  <a:schemeClr val="bg2"/>
                </a:solidFill>
              </a:rPr>
              <a:t>(Veränderung zum Vorjahreszeitraum bisher gesamt: +3,9 %)</a:t>
            </a:r>
          </a:p>
        </c:rich>
      </c:tx>
      <c:layout>
        <c:manualLayout>
          <c:xMode val="edge"/>
          <c:yMode val="edge"/>
          <c:x val="1.0758110969106441E-3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6667617355605"/>
          <c:y val="0.17883041837997909"/>
          <c:w val="0.70784981701033955"/>
          <c:h val="0.65984508187247048"/>
        </c:manualLayout>
      </c:layout>
      <c:barChart>
        <c:barDir val="col"/>
        <c:grouping val="clustered"/>
        <c:varyColors val="0"/>
        <c:ser>
          <c:idx val="11"/>
          <c:order val="0"/>
          <c:tx>
            <c:strRef>
              <c:f>Sheet1!$M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BF6DBB"/>
            </a:solidFill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M$2:$M$13</c:f>
              <c:numCache>
                <c:formatCode>0.0</c:formatCode>
                <c:ptCount val="12"/>
                <c:pt idx="0">
                  <c:v>18.818372216085454</c:v>
                </c:pt>
                <c:pt idx="1">
                  <c:v>14.140293558579907</c:v>
                </c:pt>
                <c:pt idx="2">
                  <c:v>13.68852264159213</c:v>
                </c:pt>
                <c:pt idx="3">
                  <c:v>11.072066019193912</c:v>
                </c:pt>
                <c:pt idx="4">
                  <c:v>7.0096881675511353</c:v>
                </c:pt>
                <c:pt idx="5">
                  <c:v>5.0483325045781129</c:v>
                </c:pt>
                <c:pt idx="6">
                  <c:v>4.9189274559966893</c:v>
                </c:pt>
                <c:pt idx="7">
                  <c:v>4.4046735634882923</c:v>
                </c:pt>
                <c:pt idx="8">
                  <c:v>6.1634559597336986</c:v>
                </c:pt>
                <c:pt idx="9">
                  <c:v>11.055636901429267</c:v>
                </c:pt>
                <c:pt idx="10">
                  <c:v>15.543638859057701</c:v>
                </c:pt>
                <c:pt idx="11">
                  <c:v>17.179106150713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C0-4569-B08B-872EBF8FB567}"/>
            </c:ext>
          </c:extLst>
        </c:ser>
        <c:ser>
          <c:idx val="12"/>
          <c:order val="1"/>
          <c:tx>
            <c:strRef>
              <c:f>Sheet1!$N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rgbClr val="7B0B6D"/>
            </a:solidFill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N$2:$N$13</c:f>
              <c:numCache>
                <c:formatCode>0.0</c:formatCode>
                <c:ptCount val="12"/>
                <c:pt idx="0">
                  <c:v>18.430945820177822</c:v>
                </c:pt>
                <c:pt idx="1">
                  <c:v>17.191379733229876</c:v>
                </c:pt>
                <c:pt idx="2">
                  <c:v>14.40777949758281</c:v>
                </c:pt>
                <c:pt idx="3">
                  <c:v>10.459398052351814</c:v>
                </c:pt>
                <c:pt idx="4">
                  <c:v>8.3120391516698735</c:v>
                </c:pt>
                <c:pt idx="5">
                  <c:v>4.5143729765464524</c:v>
                </c:pt>
                <c:pt idx="6">
                  <c:v>4.4381413566358345</c:v>
                </c:pt>
                <c:pt idx="7">
                  <c:v>4.4697016450112823</c:v>
                </c:pt>
                <c:pt idx="8">
                  <c:v>6.405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BC0-4569-B08B-872EBF8FB567}"/>
            </c:ext>
          </c:extLst>
        </c:ser>
        <c:ser>
          <c:idx val="6"/>
          <c:order val="3"/>
          <c:tx>
            <c:strRef>
              <c:f>Sheet1!$D$1</c:f>
              <c:strCache>
                <c:ptCount val="1"/>
                <c:pt idx="0">
                  <c:v>2017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D$2:$D$13</c:f>
            </c:numRef>
          </c:val>
          <c:extLst>
            <c:ext xmlns:c16="http://schemas.microsoft.com/office/drawing/2014/chart" uri="{C3380CC4-5D6E-409C-BE32-E72D297353CC}">
              <c16:uniqueId val="{00000002-9BC0-4569-B08B-872EBF8FB567}"/>
            </c:ext>
          </c:extLst>
        </c:ser>
        <c:ser>
          <c:idx val="7"/>
          <c:order val="4"/>
          <c:tx>
            <c:strRef>
              <c:f>Sheet1!$E$1</c:f>
              <c:strCache>
                <c:ptCount val="1"/>
                <c:pt idx="0">
                  <c:v>2018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E$2:$E$13</c:f>
            </c:numRef>
          </c:val>
          <c:extLst>
            <c:ext xmlns:c16="http://schemas.microsoft.com/office/drawing/2014/chart" uri="{C3380CC4-5D6E-409C-BE32-E72D297353CC}">
              <c16:uniqueId val="{00000003-9BC0-4569-B08B-872EBF8FB567}"/>
            </c:ext>
          </c:extLst>
        </c:ser>
        <c:ser>
          <c:idx val="8"/>
          <c:order val="5"/>
          <c:tx>
            <c:strRef>
              <c:f>Sheet1!$F$1</c:f>
              <c:strCache>
                <c:ptCount val="1"/>
                <c:pt idx="0">
                  <c:v>2019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F$2:$F$13</c:f>
            </c:numRef>
          </c:val>
          <c:extLst>
            <c:ext xmlns:c16="http://schemas.microsoft.com/office/drawing/2014/chart" uri="{C3380CC4-5D6E-409C-BE32-E72D297353CC}">
              <c16:uniqueId val="{00000004-9BC0-4569-B08B-872EBF8FB567}"/>
            </c:ext>
          </c:extLst>
        </c:ser>
        <c:ser>
          <c:idx val="9"/>
          <c:order val="6"/>
          <c:tx>
            <c:strRef>
              <c:f>Sheet1!$G$1</c:f>
              <c:strCache>
                <c:ptCount val="1"/>
                <c:pt idx="0">
                  <c:v>2020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G$2:$G$13</c:f>
            </c:numRef>
          </c:val>
          <c:extLst>
            <c:ext xmlns:c16="http://schemas.microsoft.com/office/drawing/2014/chart" uri="{C3380CC4-5D6E-409C-BE32-E72D297353CC}">
              <c16:uniqueId val="{00000005-9BC0-4569-B08B-872EBF8FB5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30"/>
        <c:axId val="197210112"/>
        <c:axId val="197212032"/>
      </c:barChart>
      <c:lineChart>
        <c:grouping val="standard"/>
        <c:varyColors val="0"/>
        <c:ser>
          <c:idx val="10"/>
          <c:order val="2"/>
          <c:tx>
            <c:strRef>
              <c:f>Sheet1!$L$1</c:f>
              <c:strCache>
                <c:ptCount val="1"/>
                <c:pt idx="0">
                  <c:v>10-jähriges Mittel</c:v>
                </c:pt>
              </c:strCache>
            </c:strRef>
          </c:tx>
          <c:spPr>
            <a:ln w="38100">
              <a:solidFill>
                <a:schemeClr val="accent2">
                  <a:lumMod val="50000"/>
                </a:schemeClr>
              </a:solidFill>
            </a:ln>
          </c:spPr>
          <c:marker>
            <c:symbol val="circle"/>
            <c:size val="9"/>
            <c:spPr>
              <a:solidFill>
                <a:schemeClr val="accent2">
                  <a:lumMod val="50000"/>
                </a:schemeClr>
              </a:solidFill>
              <a:ln>
                <a:solidFill>
                  <a:schemeClr val="accent2">
                    <a:lumMod val="50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3.7393789740490395E-2"/>
                  <c:y val="-4.7042270736573785E-2"/>
                </c:manualLayout>
              </c:layout>
              <c:tx>
                <c:rich>
                  <a:bodyPr/>
                  <a:lstStyle/>
                  <a:p>
                    <a:fld id="{061E001D-724E-43C3-B12E-7B813DD36DAD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9BC0-4569-B08B-872EBF8FB56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25E44C2-14C3-416F-A50E-7BF047C01AAE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9BC0-4569-B08B-872EBF8FB567}"/>
                </c:ext>
              </c:extLst>
            </c:dLbl>
            <c:dLbl>
              <c:idx val="2"/>
              <c:layout>
                <c:manualLayout>
                  <c:x val="-3.7783659117909138E-2"/>
                  <c:y val="-4.6461436159625058E-2"/>
                </c:manualLayout>
              </c:layout>
              <c:tx>
                <c:rich>
                  <a:bodyPr/>
                  <a:lstStyle/>
                  <a:p>
                    <a:fld id="{8B7DD229-DA55-4FE9-A503-2C4D394C33F9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9BC0-4569-B08B-872EBF8FB567}"/>
                </c:ext>
              </c:extLst>
            </c:dLbl>
            <c:dLbl>
              <c:idx val="3"/>
              <c:layout>
                <c:manualLayout>
                  <c:x val="-3.6569303931643669E-2"/>
                  <c:y val="-6.5154608422163043E-2"/>
                </c:manualLayout>
              </c:layout>
              <c:tx>
                <c:rich>
                  <a:bodyPr/>
                  <a:lstStyle/>
                  <a:p>
                    <a:fld id="{301221EF-B757-4C3D-BA1F-565A8BA80AF2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9BC0-4569-B08B-872EBF8FB567}"/>
                </c:ext>
              </c:extLst>
            </c:dLbl>
            <c:dLbl>
              <c:idx val="4"/>
              <c:layout>
                <c:manualLayout>
                  <c:x val="-3.4624705655822333E-2"/>
                  <c:y val="-5.4313859418105986E-2"/>
                </c:manualLayout>
              </c:layout>
              <c:tx>
                <c:rich>
                  <a:bodyPr/>
                  <a:lstStyle/>
                  <a:p>
                    <a:fld id="{60052E86-7AAD-42EE-9961-43EAA375DBB4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9BC0-4569-B08B-872EBF8FB56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2D9DFAA7-FD8B-4DE0-B0B4-B944BF563F9A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9BC0-4569-B08B-872EBF8FB56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3831DB03-4252-40EA-B335-7068D44907C2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9BC0-4569-B08B-872EBF8FB567}"/>
                </c:ext>
              </c:extLst>
            </c:dLbl>
            <c:dLbl>
              <c:idx val="7"/>
              <c:layout>
                <c:manualLayout>
                  <c:x val="-3.9076188977803447E-2"/>
                  <c:y val="-4.2974638903707015E-2"/>
                </c:manualLayout>
              </c:layout>
              <c:tx>
                <c:rich>
                  <a:bodyPr/>
                  <a:lstStyle/>
                  <a:p>
                    <a:fld id="{2A43601E-0E87-41B4-B035-094DEF5884CC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9BC0-4569-B08B-872EBF8FB567}"/>
                </c:ext>
              </c:extLst>
            </c:dLbl>
            <c:dLbl>
              <c:idx val="8"/>
              <c:layout>
                <c:manualLayout>
                  <c:x val="-4.3480024442288025E-2"/>
                  <c:y val="-4.5560707090586461E-2"/>
                </c:manualLayout>
              </c:layout>
              <c:tx>
                <c:rich>
                  <a:bodyPr/>
                  <a:lstStyle/>
                  <a:p>
                    <a:fld id="{EF10AAC5-DD74-4A69-AD83-7BA1178FBAB4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9BC0-4569-B08B-872EBF8FB56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7350A434-061F-4286-807A-3D065AE6217E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9BC0-4569-B08B-872EBF8FB567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1E94CCA-005F-4FBF-8C99-80D6C4267B2F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9BC0-4569-B08B-872EBF8FB567}"/>
                </c:ext>
              </c:extLst>
            </c:dLbl>
            <c:dLbl>
              <c:idx val="11"/>
              <c:layout>
                <c:manualLayout>
                  <c:x val="-3.6877934345113099E-2"/>
                  <c:y val="-6.6075907858210381E-2"/>
                </c:manualLayout>
              </c:layout>
              <c:tx>
                <c:rich>
                  <a:bodyPr/>
                  <a:lstStyle/>
                  <a:p>
                    <a:fld id="{B9E57A32-FF94-40C5-8D05-F6EC2F2CABC9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9BC0-4569-B08B-872EBF8FB5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de-DE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L$2:$L$13</c:f>
              <c:numCache>
                <c:formatCode>#,##0.0</c:formatCode>
                <c:ptCount val="12"/>
                <c:pt idx="0">
                  <c:v>18.506636836342025</c:v>
                </c:pt>
                <c:pt idx="1">
                  <c:v>16.177919980436716</c:v>
                </c:pt>
                <c:pt idx="2">
                  <c:v>15.494999708003629</c:v>
                </c:pt>
                <c:pt idx="3">
                  <c:v>12.003971376433469</c:v>
                </c:pt>
                <c:pt idx="4">
                  <c:v>8.7726734929974448</c:v>
                </c:pt>
                <c:pt idx="5">
                  <c:v>5.4822211675337913</c:v>
                </c:pt>
                <c:pt idx="6">
                  <c:v>5.1446256833367379</c:v>
                </c:pt>
                <c:pt idx="7">
                  <c:v>5.1487975860978938</c:v>
                </c:pt>
                <c:pt idx="8">
                  <c:v>6.6698334456579031</c:v>
                </c:pt>
                <c:pt idx="9">
                  <c:v>11.211709586259834</c:v>
                </c:pt>
                <c:pt idx="10">
                  <c:v>14.853652050708556</c:v>
                </c:pt>
                <c:pt idx="11">
                  <c:v>17.088508088292006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Sheet1!$O$2:$O$13</c15:f>
                <c15:dlblRangeCache>
                  <c:ptCount val="12"/>
                  <c:pt idx="0">
                    <c:v>-2,1%</c:v>
                  </c:pt>
                  <c:pt idx="1">
                    <c:v>+21,6%</c:v>
                  </c:pt>
                  <c:pt idx="2">
                    <c:v>+5,3%</c:v>
                  </c:pt>
                  <c:pt idx="3">
                    <c:v>-5,5%</c:v>
                  </c:pt>
                  <c:pt idx="4">
                    <c:v>+18,6%</c:v>
                  </c:pt>
                  <c:pt idx="5">
                    <c:v>-10,6%</c:v>
                  </c:pt>
                  <c:pt idx="6">
                    <c:v>-9,8%</c:v>
                  </c:pt>
                  <c:pt idx="7">
                    <c:v>+1,5%</c:v>
                  </c:pt>
                  <c:pt idx="8">
                    <c:v>+3,9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2-9BC0-4569-B08B-872EBF8FB5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210112"/>
        <c:axId val="197212032"/>
      </c:lineChart>
      <c:catAx>
        <c:axId val="197210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3">
            <a:solidFill>
              <a:srgbClr val="B5C0C9"/>
            </a:solidFill>
          </a:ln>
        </c:spPr>
        <c:txPr>
          <a:bodyPr rot="0" vert="horz"/>
          <a:lstStyle/>
          <a:p>
            <a: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de-DE"/>
          </a:p>
        </c:txPr>
        <c:crossAx val="197212032"/>
        <c:crosses val="autoZero"/>
        <c:auto val="0"/>
        <c:lblAlgn val="ctr"/>
        <c:lblOffset val="100"/>
        <c:noMultiLvlLbl val="0"/>
      </c:catAx>
      <c:valAx>
        <c:axId val="197212032"/>
        <c:scaling>
          <c:orientation val="minMax"/>
          <c:max val="20"/>
          <c:min val="0"/>
        </c:scaling>
        <c:delete val="0"/>
        <c:axPos val="l"/>
        <c:majorGridlines>
          <c:spPr>
            <a:ln w="9525">
              <a:solidFill>
                <a:srgbClr val="B5C0C9"/>
              </a:solidFill>
              <a:prstDash val="solid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400" b="1"/>
                </a:pPr>
                <a:r>
                  <a:rPr lang="de-DE" sz="1400" b="1" dirty="0"/>
                  <a:t>in Mrd. kWh</a:t>
                </a:r>
              </a:p>
            </c:rich>
          </c:tx>
          <c:layout>
            <c:manualLayout>
              <c:xMode val="edge"/>
              <c:yMode val="edge"/>
              <c:x val="1.5206233645815449E-3"/>
              <c:y val="0.32833632273575758"/>
            </c:manualLayout>
          </c:layout>
          <c:overlay val="0"/>
        </c:title>
        <c:numFmt formatCode="#,##0.0" sourceLinked="0"/>
        <c:majorTickMark val="none"/>
        <c:minorTickMark val="none"/>
        <c:tickLblPos val="nextTo"/>
        <c:spPr>
          <a:ln w="9523">
            <a:noFill/>
          </a:ln>
        </c:spPr>
        <c:txPr>
          <a:bodyPr rot="0" vert="horz"/>
          <a:lstStyle/>
          <a:p>
            <a:pPr>
              <a:defRPr sz="1200"/>
            </a:pPr>
            <a:endParaRPr lang="de-DE"/>
          </a:p>
        </c:txPr>
        <c:crossAx val="197210112"/>
        <c:crosses val="autoZero"/>
        <c:crossBetween val="between"/>
        <c:majorUnit val="2.5"/>
      </c:valAx>
      <c:spPr>
        <a:noFill/>
        <a:ln w="25394">
          <a:noFill/>
        </a:ln>
      </c:spPr>
    </c:plotArea>
    <c:legend>
      <c:legendPos val="r"/>
      <c:layout>
        <c:manualLayout>
          <c:xMode val="edge"/>
          <c:yMode val="edge"/>
          <c:x val="0.81917920296285196"/>
          <c:y val="0.42505315240828806"/>
          <c:w val="0.17318463313105451"/>
          <c:h val="0.26533881446370111"/>
        </c:manualLayout>
      </c:layout>
      <c:overlay val="0"/>
      <c:spPr>
        <a:noFill/>
        <a:ln w="25394">
          <a:noFill/>
        </a:ln>
      </c:spPr>
      <c:txPr>
        <a:bodyPr/>
        <a:lstStyle/>
        <a:p>
          <a:pPr algn="just">
            <a:defRPr sz="1100">
              <a:latin typeface="Calibri" panose="020F0502020204030204" pitchFamily="34" charset="0"/>
              <a:cs typeface="Calibri" panose="020F0502020204030204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+mj-lt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r>
              <a:rPr lang="de-DE" sz="1600" b="0">
                <a:solidFill>
                  <a:schemeClr val="bg2"/>
                </a:solidFill>
                <a:effectLst/>
              </a:rPr>
              <a:t>netto, zur leitungsgebundenen Versorgung 2025 bisher: 89 Mrd. kWh** (Veränderung zum Vorjahreszeitraum gesamt: +3,9 %)</a:t>
            </a:r>
            <a:endParaRPr lang="de-DE" sz="1600" b="0">
              <a:solidFill>
                <a:schemeClr val="bg2"/>
              </a:solidFill>
            </a:endParaRPr>
          </a:p>
        </c:rich>
      </c:tx>
      <c:layout>
        <c:manualLayout>
          <c:xMode val="edge"/>
          <c:yMode val="edge"/>
          <c:x val="0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6219421328393395E-2"/>
          <c:y val="0.21561212409947977"/>
          <c:w val="0.68560562074140508"/>
          <c:h val="0.61618588521801243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2025'!$A$2</c:f>
              <c:strCache>
                <c:ptCount val="1"/>
                <c:pt idx="0">
                  <c:v>Erdgas</c:v>
                </c:pt>
              </c:strCache>
            </c:strRef>
          </c:tx>
          <c:spPr>
            <a:solidFill>
              <a:srgbClr val="46AA28"/>
            </a:solidFill>
            <a:ln w="9525"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2:$M$2</c:f>
              <c:numCache>
                <c:formatCode>#,##0.000</c:formatCode>
                <c:ptCount val="12"/>
                <c:pt idx="0">
                  <c:v>10.260525717934783</c:v>
                </c:pt>
                <c:pt idx="1">
                  <c:v>9.1773969192612928</c:v>
                </c:pt>
                <c:pt idx="2">
                  <c:v>7.2246704146043026</c:v>
                </c:pt>
                <c:pt idx="3">
                  <c:v>4.6103436041996115</c:v>
                </c:pt>
                <c:pt idx="4">
                  <c:v>3.5243262258629722</c:v>
                </c:pt>
                <c:pt idx="5">
                  <c:v>1.9361762650678227</c:v>
                </c:pt>
                <c:pt idx="6">
                  <c:v>1.8770185519234623</c:v>
                </c:pt>
                <c:pt idx="7">
                  <c:v>1.8933213366153168</c:v>
                </c:pt>
                <c:pt idx="8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3F-48F1-AE01-4DAA25DC331A}"/>
            </c:ext>
          </c:extLst>
        </c:ser>
        <c:ser>
          <c:idx val="4"/>
          <c:order val="1"/>
          <c:tx>
            <c:strRef>
              <c:f>'2025'!$A$3</c:f>
              <c:strCache>
                <c:ptCount val="1"/>
                <c:pt idx="0">
                  <c:v>Steinkohle</c:v>
                </c:pt>
              </c:strCache>
            </c:strRef>
          </c:tx>
          <c:spPr>
            <a:solidFill>
              <a:srgbClr val="333333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3:$M$3</c:f>
              <c:numCache>
                <c:formatCode>#,##0.000</c:formatCode>
                <c:ptCount val="12"/>
                <c:pt idx="0">
                  <c:v>1.7656860745391556</c:v>
                </c:pt>
                <c:pt idx="1">
                  <c:v>1.817030231252925</c:v>
                </c:pt>
                <c:pt idx="2">
                  <c:v>1.2961665639559901</c:v>
                </c:pt>
                <c:pt idx="3">
                  <c:v>0.74085722163871814</c:v>
                </c:pt>
                <c:pt idx="4">
                  <c:v>0.46303056095645811</c:v>
                </c:pt>
                <c:pt idx="5">
                  <c:v>0.19562202235358042</c:v>
                </c:pt>
                <c:pt idx="6">
                  <c:v>0.1569437170546166</c:v>
                </c:pt>
                <c:pt idx="7">
                  <c:v>0.15121851767211189</c:v>
                </c:pt>
                <c:pt idx="8">
                  <c:v>0.163147972724674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F-48F1-AE01-4DAA25DC331A}"/>
            </c:ext>
          </c:extLst>
        </c:ser>
        <c:ser>
          <c:idx val="5"/>
          <c:order val="2"/>
          <c:tx>
            <c:strRef>
              <c:f>'2025'!$A$4</c:f>
              <c:strCache>
                <c:ptCount val="1"/>
                <c:pt idx="0">
                  <c:v>Braunkohle</c:v>
                </c:pt>
              </c:strCache>
            </c:strRef>
          </c:tx>
          <c:spPr>
            <a:solidFill>
              <a:srgbClr val="8C3725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4:$M$4</c:f>
              <c:numCache>
                <c:formatCode>#,##0.000</c:formatCode>
                <c:ptCount val="12"/>
                <c:pt idx="0">
                  <c:v>0.64424130981830252</c:v>
                </c:pt>
                <c:pt idx="1">
                  <c:v>0.62406191976321135</c:v>
                </c:pt>
                <c:pt idx="2">
                  <c:v>0.56689893714258921</c:v>
                </c:pt>
                <c:pt idx="3">
                  <c:v>0.38833678668373367</c:v>
                </c:pt>
                <c:pt idx="4">
                  <c:v>0.28612568293276808</c:v>
                </c:pt>
                <c:pt idx="5">
                  <c:v>0.20810253773795342</c:v>
                </c:pt>
                <c:pt idx="6">
                  <c:v>0.25700780279715879</c:v>
                </c:pt>
                <c:pt idx="7">
                  <c:v>0.23245427034942079</c:v>
                </c:pt>
                <c:pt idx="8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3F-48F1-AE01-4DAA25DC331A}"/>
            </c:ext>
          </c:extLst>
        </c:ser>
        <c:ser>
          <c:idx val="6"/>
          <c:order val="3"/>
          <c:tx>
            <c:strRef>
              <c:f>'2025'!$A$5</c:f>
              <c:strCache>
                <c:ptCount val="1"/>
                <c:pt idx="0">
                  <c:v>Mineralöl</c:v>
                </c:pt>
              </c:strCache>
            </c:strRef>
          </c:tx>
          <c:spPr>
            <a:solidFill>
              <a:srgbClr val="477390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5:$M$5</c:f>
              <c:numCache>
                <c:formatCode>#,##0.000</c:formatCode>
                <c:ptCount val="12"/>
                <c:pt idx="0">
                  <c:v>0.31235830147892535</c:v>
                </c:pt>
                <c:pt idx="1">
                  <c:v>0.26476965115465084</c:v>
                </c:pt>
                <c:pt idx="2">
                  <c:v>0.20416631455071915</c:v>
                </c:pt>
                <c:pt idx="3">
                  <c:v>0.13447821406811222</c:v>
                </c:pt>
                <c:pt idx="4">
                  <c:v>0.1022079140358803</c:v>
                </c:pt>
                <c:pt idx="5">
                  <c:v>2.6606360935300784E-2</c:v>
                </c:pt>
                <c:pt idx="6">
                  <c:v>1.8755629142361153E-2</c:v>
                </c:pt>
                <c:pt idx="7">
                  <c:v>3.2066346590193272E-2</c:v>
                </c:pt>
                <c:pt idx="8">
                  <c:v>8.139554424884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B3F-48F1-AE01-4DAA25DC331A}"/>
            </c:ext>
          </c:extLst>
        </c:ser>
        <c:ser>
          <c:idx val="7"/>
          <c:order val="4"/>
          <c:tx>
            <c:strRef>
              <c:f>'2025'!$A$6</c:f>
              <c:strCache>
                <c:ptCount val="1"/>
                <c:pt idx="0">
                  <c:v>Sonstige</c:v>
                </c:pt>
              </c:strCache>
            </c:strRef>
          </c:tx>
          <c:spPr>
            <a:solidFill>
              <a:srgbClr val="B5C0C9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6:$M$6</c:f>
              <c:numCache>
                <c:formatCode>#,##0.000</c:formatCode>
                <c:ptCount val="12"/>
                <c:pt idx="0">
                  <c:v>0.52611207114654945</c:v>
                </c:pt>
                <c:pt idx="1">
                  <c:v>0.50622391006312384</c:v>
                </c:pt>
                <c:pt idx="2">
                  <c:v>0.42347568846290606</c:v>
                </c:pt>
                <c:pt idx="3">
                  <c:v>0.35705826556476694</c:v>
                </c:pt>
                <c:pt idx="4">
                  <c:v>0.27256832254242802</c:v>
                </c:pt>
                <c:pt idx="5">
                  <c:v>0.23540871529265317</c:v>
                </c:pt>
                <c:pt idx="6">
                  <c:v>0.22069928106891812</c:v>
                </c:pt>
                <c:pt idx="7">
                  <c:v>0.21520565925389512</c:v>
                </c:pt>
                <c:pt idx="8">
                  <c:v>0.229730880266775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B3F-48F1-AE01-4DAA25DC331A}"/>
            </c:ext>
          </c:extLst>
        </c:ser>
        <c:ser>
          <c:idx val="8"/>
          <c:order val="5"/>
          <c:tx>
            <c:strRef>
              <c:f>'2025'!$A$7</c:f>
              <c:strCache>
                <c:ptCount val="1"/>
                <c:pt idx="0">
                  <c:v>Unvermeidb. Abwärme u. übrige ET i.S.d. WPG</c:v>
                </c:pt>
              </c:strCache>
            </c:strRef>
          </c:tx>
          <c:spPr>
            <a:solidFill>
              <a:srgbClr val="C84730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C62-478C-82F5-8A0E689C40B0}"/>
              </c:ext>
            </c:extLst>
          </c:dPt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7:$M$7</c:f>
              <c:numCache>
                <c:formatCode>#,##0.000</c:formatCode>
                <c:ptCount val="12"/>
                <c:pt idx="0">
                  <c:v>1.7182503580616462</c:v>
                </c:pt>
                <c:pt idx="1">
                  <c:v>1.9155559465046459</c:v>
                </c:pt>
                <c:pt idx="2">
                  <c:v>1.9707868271289901</c:v>
                </c:pt>
                <c:pt idx="3">
                  <c:v>2.1256801848988953</c:v>
                </c:pt>
                <c:pt idx="4">
                  <c:v>1.8671608100235673</c:v>
                </c:pt>
                <c:pt idx="5">
                  <c:v>0.6737049282947013</c:v>
                </c:pt>
                <c:pt idx="6">
                  <c:v>0.68151746800306634</c:v>
                </c:pt>
                <c:pt idx="7">
                  <c:v>0.68295590300390652</c:v>
                </c:pt>
                <c:pt idx="8">
                  <c:v>1.12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B3F-48F1-AE01-4DAA25DC331A}"/>
            </c:ext>
          </c:extLst>
        </c:ser>
        <c:ser>
          <c:idx val="3"/>
          <c:order val="6"/>
          <c:tx>
            <c:strRef>
              <c:f>'2025'!$A$8</c:f>
              <c:strCache>
                <c:ptCount val="1"/>
                <c:pt idx="0">
                  <c:v>Biomasse</c:v>
                </c:pt>
              </c:strCache>
            </c:strRef>
          </c:tx>
          <c:spPr>
            <a:solidFill>
              <a:srgbClr val="C4DA80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8:$M$8</c:f>
              <c:numCache>
                <c:formatCode>#,##0.000</c:formatCode>
                <c:ptCount val="12"/>
                <c:pt idx="0">
                  <c:v>1.6412082790465232</c:v>
                </c:pt>
                <c:pt idx="1">
                  <c:v>1.4705048424216745</c:v>
                </c:pt>
                <c:pt idx="2">
                  <c:v>1.3793100805616032</c:v>
                </c:pt>
                <c:pt idx="3">
                  <c:v>1.1078763152051945</c:v>
                </c:pt>
                <c:pt idx="4">
                  <c:v>0.94393355189661998</c:v>
                </c:pt>
                <c:pt idx="5">
                  <c:v>0.62622718616861628</c:v>
                </c:pt>
                <c:pt idx="6">
                  <c:v>0.56542392381358042</c:v>
                </c:pt>
                <c:pt idx="7">
                  <c:v>0.62677846116091096</c:v>
                </c:pt>
                <c:pt idx="8">
                  <c:v>0.844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B3F-48F1-AE01-4DAA25DC331A}"/>
            </c:ext>
          </c:extLst>
        </c:ser>
        <c:ser>
          <c:idx val="0"/>
          <c:order val="7"/>
          <c:tx>
            <c:strRef>
              <c:f>'2025'!$A$9</c:f>
              <c:strCache>
                <c:ptCount val="1"/>
                <c:pt idx="0">
                  <c:v>biogener Siedlungsabfall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9:$M$9</c:f>
              <c:numCache>
                <c:formatCode>#,##0.000</c:formatCode>
                <c:ptCount val="12"/>
                <c:pt idx="0">
                  <c:v>1.3094176112506952</c:v>
                </c:pt>
                <c:pt idx="1">
                  <c:v>1.170727273971961</c:v>
                </c:pt>
                <c:pt idx="2">
                  <c:v>1.1366034717541011</c:v>
                </c:pt>
                <c:pt idx="3">
                  <c:v>0.84670153076208987</c:v>
                </c:pt>
                <c:pt idx="4">
                  <c:v>0.70783729490916969</c:v>
                </c:pt>
                <c:pt idx="5">
                  <c:v>0.52963635076428273</c:v>
                </c:pt>
                <c:pt idx="6">
                  <c:v>0.57424118650529643</c:v>
                </c:pt>
                <c:pt idx="7">
                  <c:v>0.53505486138446878</c:v>
                </c:pt>
                <c:pt idx="8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B3F-48F1-AE01-4DAA25DC331A}"/>
            </c:ext>
          </c:extLst>
        </c:ser>
        <c:ser>
          <c:idx val="2"/>
          <c:order val="8"/>
          <c:tx>
            <c:strRef>
              <c:f>'2025'!$A$10</c:f>
              <c:strCache>
                <c:ptCount val="1"/>
                <c:pt idx="0">
                  <c:v>Umwelt-, Geo- und Solarthermie </c:v>
                </c:pt>
              </c:strCache>
            </c:strRef>
          </c:tx>
          <c:spPr>
            <a:solidFill>
              <a:srgbClr val="C20000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10:$M$10</c:f>
              <c:numCache>
                <c:formatCode>#,##0.000</c:formatCode>
                <c:ptCount val="12"/>
                <c:pt idx="0">
                  <c:v>0.25314609690124484</c:v>
                </c:pt>
                <c:pt idx="1">
                  <c:v>0.24510903883639046</c:v>
                </c:pt>
                <c:pt idx="2">
                  <c:v>0.20570119942160814</c:v>
                </c:pt>
                <c:pt idx="3">
                  <c:v>0.14806592933069068</c:v>
                </c:pt>
                <c:pt idx="4">
                  <c:v>0.14484878851000929</c:v>
                </c:pt>
                <c:pt idx="5">
                  <c:v>8.288860993154136E-2</c:v>
                </c:pt>
                <c:pt idx="6">
                  <c:v>8.6533796327374873E-2</c:v>
                </c:pt>
                <c:pt idx="7">
                  <c:v>0.10064628898105789</c:v>
                </c:pt>
                <c:pt idx="8">
                  <c:v>0.103287564754079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B3F-48F1-AE01-4DAA25DC33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97559680"/>
        <c:axId val="97561216"/>
      </c:barChart>
      <c:lineChart>
        <c:grouping val="standard"/>
        <c:varyColors val="0"/>
        <c:ser>
          <c:idx val="9"/>
          <c:order val="9"/>
          <c:tx>
            <c:strRef>
              <c:f>'2025'!$A$11</c:f>
              <c:strCache>
                <c:ptCount val="1"/>
                <c:pt idx="0">
                  <c:v>Vorjahr</c:v>
                </c:pt>
              </c:strCache>
            </c:strRef>
          </c:tx>
          <c:spPr>
            <a:ln w="38100">
              <a:solidFill>
                <a:srgbClr val="002060"/>
              </a:solidFill>
            </a:ln>
          </c:spPr>
          <c:marker>
            <c:symbol val="circle"/>
            <c:size val="8"/>
            <c:spPr>
              <a:solidFill>
                <a:srgbClr val="002060"/>
              </a:solidFill>
              <a:ln>
                <a:solidFill>
                  <a:srgbClr val="002060"/>
                </a:solidFill>
              </a:ln>
            </c:spPr>
          </c:marker>
          <c:dLbls>
            <c:dLbl>
              <c:idx val="0"/>
              <c:layout>
                <c:manualLayout>
                  <c:x val="-3.4719645139655565E-2"/>
                  <c:y val="-4.5721071792996976E-2"/>
                </c:manualLayout>
              </c:layout>
              <c:tx>
                <c:rich>
                  <a:bodyPr/>
                  <a:lstStyle/>
                  <a:p>
                    <a:fld id="{73DFBBFF-CF3C-45DE-ABCE-4BB1D77CA134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2B8-4288-B053-0130F5AA104F}"/>
                </c:ext>
              </c:extLst>
            </c:dLbl>
            <c:dLbl>
              <c:idx val="1"/>
              <c:layout>
                <c:manualLayout>
                  <c:x val="-4.2675208050274208E-2"/>
                  <c:y val="-0.12740019670777519"/>
                </c:manualLayout>
              </c:layout>
              <c:tx>
                <c:rich>
                  <a:bodyPr/>
                  <a:lstStyle/>
                  <a:p>
                    <a:fld id="{797239EE-6104-4DFE-B309-F3D582ED7BC4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B8-4288-B053-0130F5AA104F}"/>
                </c:ext>
              </c:extLst>
            </c:dLbl>
            <c:dLbl>
              <c:idx val="2"/>
              <c:layout>
                <c:manualLayout>
                  <c:x val="-3.5072835476451673E-2"/>
                  <c:y val="-5.7285331224007856E-2"/>
                </c:manualLayout>
              </c:layout>
              <c:tx>
                <c:rich>
                  <a:bodyPr/>
                  <a:lstStyle/>
                  <a:p>
                    <a:fld id="{7A51C881-11FE-471B-8CE4-D50E3FDF5249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82B8-4288-B053-0130F5AA104F}"/>
                </c:ext>
              </c:extLst>
            </c:dLbl>
            <c:dLbl>
              <c:idx val="3"/>
              <c:layout>
                <c:manualLayout>
                  <c:x val="-3.3321769654542227E-2"/>
                  <c:y val="-5.3548662419122657E-2"/>
                </c:manualLayout>
              </c:layout>
              <c:tx>
                <c:rich>
                  <a:bodyPr/>
                  <a:lstStyle/>
                  <a:p>
                    <a:fld id="{AE60CD0A-BC61-4BEE-9C87-6C58D9070359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B8-4288-B053-0130F5AA104F}"/>
                </c:ext>
              </c:extLst>
            </c:dLbl>
            <c:dLbl>
              <c:idx val="4"/>
              <c:layout>
                <c:manualLayout>
                  <c:x val="-3.3203147941163164E-2"/>
                  <c:y val="-6.6241591602464941E-2"/>
                </c:manualLayout>
              </c:layout>
              <c:tx>
                <c:rich>
                  <a:bodyPr/>
                  <a:lstStyle/>
                  <a:p>
                    <a:fld id="{648CC191-EAA8-4833-BC09-437F98814CBE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82B8-4288-B053-0130F5AA104F}"/>
                </c:ext>
              </c:extLst>
            </c:dLbl>
            <c:dLbl>
              <c:idx val="5"/>
              <c:layout>
                <c:manualLayout>
                  <c:x val="-3.259852609032253E-2"/>
                  <c:y val="-5.1650869091541672E-2"/>
                </c:manualLayout>
              </c:layout>
              <c:tx>
                <c:rich>
                  <a:bodyPr/>
                  <a:lstStyle/>
                  <a:p>
                    <a:fld id="{C8347AD7-B290-47EB-B791-C0AAFB0F6A26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B8-4288-B053-0130F5AA104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6F257C9-6EB3-4E21-8EB1-9B8810B2BF35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82B8-4288-B053-0130F5AA104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EDBECB1E-A0F9-434F-A6F4-0416DAE01C44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82B8-4288-B053-0130F5AA104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C6922A33-CA1E-44FD-A064-A3ED76CFE766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82B8-4288-B053-0130F5AA104F}"/>
                </c:ext>
              </c:extLst>
            </c:dLbl>
            <c:dLbl>
              <c:idx val="9"/>
              <c:layout>
                <c:manualLayout>
                  <c:x val="-3.9863059372609866E-2"/>
                  <c:y val="-5.1586469177158818E-2"/>
                </c:manualLayout>
              </c:layout>
              <c:tx>
                <c:rich>
                  <a:bodyPr/>
                  <a:lstStyle/>
                  <a:p>
                    <a:fld id="{8D83B54F-6271-4B08-B9A3-4D6F99AF34B5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B8-4288-B053-0130F5AA104F}"/>
                </c:ext>
              </c:extLst>
            </c:dLbl>
            <c:dLbl>
              <c:idx val="10"/>
              <c:layout>
                <c:manualLayout>
                  <c:x val="-3.9304490657551559E-2"/>
                  <c:y val="-7.7773184570421844E-2"/>
                </c:manualLayout>
              </c:layout>
              <c:tx>
                <c:rich>
                  <a:bodyPr/>
                  <a:lstStyle/>
                  <a:p>
                    <a:fld id="{D4814619-59F8-45EF-92BE-3E71EB984C9B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B8-4288-B053-0130F5AA104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97113724-E8CC-4CBB-B481-13880A480D7F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82B8-4288-B053-0130F5AA104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de-DE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11:$M$11</c:f>
              <c:numCache>
                <c:formatCode>#,##0.000</c:formatCode>
                <c:ptCount val="12"/>
                <c:pt idx="0">
                  <c:v>18.818372216085454</c:v>
                </c:pt>
                <c:pt idx="1">
                  <c:v>14.140293558579907</c:v>
                </c:pt>
                <c:pt idx="2">
                  <c:v>13.68852264159213</c:v>
                </c:pt>
                <c:pt idx="3">
                  <c:v>11.072066019193912</c:v>
                </c:pt>
                <c:pt idx="4">
                  <c:v>7.0096881675511362</c:v>
                </c:pt>
                <c:pt idx="5">
                  <c:v>5.0483325045781129</c:v>
                </c:pt>
                <c:pt idx="6">
                  <c:v>4.9189274559966893</c:v>
                </c:pt>
                <c:pt idx="7">
                  <c:v>4.4046735634882923</c:v>
                </c:pt>
                <c:pt idx="8">
                  <c:v>6.1634559597336986</c:v>
                </c:pt>
                <c:pt idx="9">
                  <c:v>11.055636901429267</c:v>
                </c:pt>
                <c:pt idx="10">
                  <c:v>15.543638859057701</c:v>
                </c:pt>
                <c:pt idx="11">
                  <c:v>17.179106150713697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'2025'!$B$12:$M$12</c15:f>
                <c15:dlblRangeCache>
                  <c:ptCount val="12"/>
                  <c:pt idx="0">
                    <c:v>-2,1%</c:v>
                  </c:pt>
                  <c:pt idx="1">
                    <c:v>+21,6%</c:v>
                  </c:pt>
                  <c:pt idx="2">
                    <c:v>+5,3%</c:v>
                  </c:pt>
                  <c:pt idx="3">
                    <c:v>-5,5%</c:v>
                  </c:pt>
                  <c:pt idx="4">
                    <c:v>+18,6%</c:v>
                  </c:pt>
                  <c:pt idx="5">
                    <c:v>-10,6%</c:v>
                  </c:pt>
                  <c:pt idx="6">
                    <c:v>-9,8%</c:v>
                  </c:pt>
                  <c:pt idx="7">
                    <c:v>+1,5%</c:v>
                  </c:pt>
                  <c:pt idx="8">
                    <c:v>+3,9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2-8198-46E5-BA09-C758C78BEC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7559680"/>
        <c:axId val="97561216"/>
      </c:lineChart>
      <c:catAx>
        <c:axId val="9755968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525">
            <a:solidFill>
              <a:srgbClr val="B5C0C9"/>
            </a:solidFill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97561216"/>
        <c:crosses val="autoZero"/>
        <c:auto val="1"/>
        <c:lblAlgn val="ctr"/>
        <c:lblOffset val="100"/>
        <c:noMultiLvlLbl val="0"/>
      </c:catAx>
      <c:valAx>
        <c:axId val="97561216"/>
        <c:scaling>
          <c:orientation val="minMax"/>
          <c:min val="0"/>
        </c:scaling>
        <c:delete val="0"/>
        <c:axPos val="l"/>
        <c:majorGridlines>
          <c:spPr>
            <a:ln w="9525">
              <a:solidFill>
                <a:srgbClr val="B5C0C9"/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400" b="1"/>
                </a:pPr>
                <a:r>
                  <a:rPr lang="de-DE" sz="1400" b="1"/>
                  <a:t>in Mrd. kWh</a:t>
                </a:r>
              </a:p>
            </c:rich>
          </c:tx>
          <c:layout>
            <c:manualLayout>
              <c:xMode val="edge"/>
              <c:yMode val="edge"/>
              <c:x val="1.5152353290377519E-3"/>
              <c:y val="0.3006377987230956"/>
            </c:manualLayout>
          </c:layout>
          <c:overlay val="0"/>
        </c:title>
        <c:numFmt formatCode="#,##0.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97559680"/>
        <c:crosses val="autoZero"/>
        <c:crossBetween val="between"/>
        <c:majorUnit val="2.5"/>
      </c:valAx>
    </c:plotArea>
    <c:legend>
      <c:legendPos val="r"/>
      <c:legendEntry>
        <c:idx val="0"/>
        <c:txPr>
          <a:bodyPr/>
          <a:lstStyle/>
          <a:p>
            <a:pPr>
              <a:lnSpc>
                <a:spcPts val="1100"/>
              </a:lnSpc>
              <a:defRPr sz="1100"/>
            </a:pPr>
            <a:endParaRPr lang="de-DE"/>
          </a:p>
        </c:txPr>
      </c:legendEntry>
      <c:legendEntry>
        <c:idx val="1"/>
        <c:txPr>
          <a:bodyPr/>
          <a:lstStyle/>
          <a:p>
            <a:pPr>
              <a:lnSpc>
                <a:spcPct val="100000"/>
              </a:lnSpc>
              <a:defRPr sz="1100"/>
            </a:pPr>
            <a:endParaRPr lang="de-DE"/>
          </a:p>
        </c:txPr>
      </c:legendEntry>
      <c:legendEntry>
        <c:idx val="3"/>
        <c:txPr>
          <a:bodyPr/>
          <a:lstStyle/>
          <a:p>
            <a:pPr>
              <a:lnSpc>
                <a:spcPts val="1100"/>
              </a:lnSpc>
              <a:defRPr sz="1100"/>
            </a:pPr>
            <a:endParaRPr lang="de-DE"/>
          </a:p>
        </c:txPr>
      </c:legendEntry>
      <c:layout>
        <c:manualLayout>
          <c:xMode val="edge"/>
          <c:yMode val="edge"/>
          <c:x val="0.78758654006396034"/>
          <c:y val="0"/>
          <c:w val="0.21241345993603966"/>
          <c:h val="0.88465489749217618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none" strike="noStrike" kern="1200" baseline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r>
              <a:rPr lang="de-DE" sz="1600" b="0" dirty="0">
                <a:solidFill>
                  <a:schemeClr val="bg2"/>
                </a:solidFill>
                <a:effectLst/>
              </a:rPr>
              <a:t>Gesamtstromverbrauch 2025 bisher</a:t>
            </a:r>
            <a:r>
              <a:rPr lang="de-DE" sz="1600" b="0">
                <a:solidFill>
                  <a:schemeClr val="bg2"/>
                </a:solidFill>
                <a:effectLst/>
              </a:rPr>
              <a:t>: 364 </a:t>
            </a:r>
            <a:r>
              <a:rPr lang="de-DE" sz="1600" b="0" dirty="0">
                <a:solidFill>
                  <a:schemeClr val="bg2"/>
                </a:solidFill>
                <a:effectLst/>
              </a:rPr>
              <a:t>Mrd. kWh*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none" strike="noStrike" kern="1200" baseline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r>
              <a:rPr lang="de-DE" sz="1600" b="0" dirty="0">
                <a:solidFill>
                  <a:schemeClr val="bg2"/>
                </a:solidFill>
                <a:effectLst/>
              </a:rPr>
              <a:t>(Veränderung zum Vorjahreszeitraum</a:t>
            </a:r>
            <a:r>
              <a:rPr lang="de-DE" sz="1600" b="0" baseline="0" dirty="0">
                <a:solidFill>
                  <a:schemeClr val="bg2"/>
                </a:solidFill>
                <a:effectLst/>
              </a:rPr>
              <a:t> gesamt</a:t>
            </a:r>
            <a:r>
              <a:rPr lang="de-DE" sz="1600" b="0">
                <a:solidFill>
                  <a:schemeClr val="bg2"/>
                </a:solidFill>
                <a:effectLst/>
              </a:rPr>
              <a:t>: -0,2 </a:t>
            </a:r>
            <a:r>
              <a:rPr lang="de-DE" sz="1600" b="0" dirty="0">
                <a:solidFill>
                  <a:schemeClr val="bg2"/>
                </a:solidFill>
                <a:effectLst/>
              </a:rPr>
              <a:t>%)</a:t>
            </a:r>
          </a:p>
        </c:rich>
      </c:tx>
      <c:layout>
        <c:manualLayout>
          <c:xMode val="edge"/>
          <c:yMode val="edge"/>
          <c:x val="6.3099882923975544E-4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8804994564906448E-2"/>
          <c:y val="0.1915798829513756"/>
          <c:w val="0.70967719919854766"/>
          <c:h val="0.70808702072963958"/>
        </c:manualLayout>
      </c:layout>
      <c:barChart>
        <c:barDir val="col"/>
        <c:grouping val="clustered"/>
        <c:varyColors val="0"/>
        <c:ser>
          <c:idx val="13"/>
          <c:order val="0"/>
          <c:tx>
            <c:v/>
          </c:tx>
          <c:spPr>
            <a:noFill/>
          </c:spPr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O$2:$O$13</c:f>
              <c:numCache>
                <c:formatCode>\+0.0%;\-0.0%;\±0.0%</c:formatCode>
                <c:ptCount val="12"/>
                <c:pt idx="0">
                  <c:v>-1.2263139805300471E-2</c:v>
                </c:pt>
                <c:pt idx="1">
                  <c:v>-6.2694096150045509E-3</c:v>
                </c:pt>
                <c:pt idx="2">
                  <c:v>2.084193786051336E-2</c:v>
                </c:pt>
                <c:pt idx="3">
                  <c:v>-2.4571829500033227E-2</c:v>
                </c:pt>
                <c:pt idx="4">
                  <c:v>3.2218491912179292E-3</c:v>
                </c:pt>
                <c:pt idx="5">
                  <c:v>-1.006248966708867E-3</c:v>
                </c:pt>
                <c:pt idx="6">
                  <c:v>7.5774207601388976E-3</c:v>
                </c:pt>
                <c:pt idx="7">
                  <c:v>-9.5470866181223135E-3</c:v>
                </c:pt>
                <c:pt idx="8">
                  <c:v>5.8126344648146144E-3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DC-4E22-B7BC-BDF3224781FD}"/>
            </c:ext>
          </c:extLst>
        </c:ser>
        <c:ser>
          <c:idx val="11"/>
          <c:order val="1"/>
          <c:tx>
            <c:strRef>
              <c:f>Sheet1!$M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FFAD75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M$2:$M$13</c:f>
              <c:numCache>
                <c:formatCode>0.0</c:formatCode>
                <c:ptCount val="12"/>
                <c:pt idx="0">
                  <c:v>45.547330163323466</c:v>
                </c:pt>
                <c:pt idx="1">
                  <c:v>41.619906169298311</c:v>
                </c:pt>
                <c:pt idx="2">
                  <c:v>41.621760736253314</c:v>
                </c:pt>
                <c:pt idx="3">
                  <c:v>40.08778363177862</c:v>
                </c:pt>
                <c:pt idx="4">
                  <c:v>39.001647291054645</c:v>
                </c:pt>
                <c:pt idx="5">
                  <c:v>38.737859019656241</c:v>
                </c:pt>
                <c:pt idx="6">
                  <c:v>39.979163430515527</c:v>
                </c:pt>
                <c:pt idx="7">
                  <c:v>39.238052676537201</c:v>
                </c:pt>
                <c:pt idx="8">
                  <c:v>38.980220910673275</c:v>
                </c:pt>
                <c:pt idx="9">
                  <c:v>41.0675632826228</c:v>
                </c:pt>
                <c:pt idx="10">
                  <c:v>42.198276202342846</c:v>
                </c:pt>
                <c:pt idx="11">
                  <c:v>42.1878592536730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DC-4E22-B7BC-BDF3224781FD}"/>
            </c:ext>
          </c:extLst>
        </c:ser>
        <c:ser>
          <c:idx val="12"/>
          <c:order val="2"/>
          <c:tx>
            <c:strRef>
              <c:f>Sheet1!$N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rgbClr val="FF7F24"/>
            </a:solidFill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6DC-4E22-B7BC-BDF3224781FD}"/>
              </c:ext>
            </c:extLst>
          </c:dPt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N$2:$N$13</c:f>
              <c:numCache>
                <c:formatCode>0.0</c:formatCode>
                <c:ptCount val="12"/>
                <c:pt idx="0">
                  <c:v>44.988776885772452</c:v>
                </c:pt>
                <c:pt idx="1">
                  <c:v>41.358973929384923</c:v>
                </c:pt>
                <c:pt idx="2">
                  <c:v>42.489238887163459</c:v>
                </c:pt>
                <c:pt idx="3">
                  <c:v>39.102753447344334</c:v>
                </c:pt>
                <c:pt idx="4">
                  <c:v>39.127304716835496</c:v>
                </c:pt>
                <c:pt idx="5">
                  <c:v>38.698879089045199</c:v>
                </c:pt>
                <c:pt idx="6">
                  <c:v>40.282102373466898</c:v>
                </c:pt>
                <c:pt idx="7">
                  <c:v>38.863443588907856</c:v>
                </c:pt>
                <c:pt idx="8">
                  <c:v>39.20679868618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6DC-4E22-B7BC-BDF3224781FD}"/>
            </c:ext>
          </c:extLst>
        </c:ser>
        <c:ser>
          <c:idx val="0"/>
          <c:order val="4"/>
          <c:tx>
            <c:strRef>
              <c:f>Sheet1!$B$1</c:f>
              <c:strCache>
                <c:ptCount val="1"/>
                <c:pt idx="0">
                  <c:v>2015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B$2:$B$13</c:f>
            </c:numRef>
          </c:val>
          <c:extLst>
            <c:ext xmlns:c16="http://schemas.microsoft.com/office/drawing/2014/chart" uri="{C3380CC4-5D6E-409C-BE32-E72D297353CC}">
              <c16:uniqueId val="{00000005-76DC-4E22-B7BC-BDF3224781FD}"/>
            </c:ext>
          </c:extLst>
        </c:ser>
        <c:ser>
          <c:idx val="2"/>
          <c:order val="5"/>
          <c:tx>
            <c:strRef>
              <c:f>Sheet1!$C$1</c:f>
              <c:strCache>
                <c:ptCount val="1"/>
                <c:pt idx="0">
                  <c:v>2016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de-DE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C$2:$C$13</c:f>
            </c:numRef>
          </c:val>
          <c:extLst>
            <c:ext xmlns:c16="http://schemas.microsoft.com/office/drawing/2014/chart" uri="{C3380CC4-5D6E-409C-BE32-E72D297353CC}">
              <c16:uniqueId val="{00000006-76DC-4E22-B7BC-BDF3224781FD}"/>
            </c:ext>
          </c:extLst>
        </c:ser>
        <c:ser>
          <c:idx val="3"/>
          <c:order val="6"/>
          <c:tx>
            <c:strRef>
              <c:f>Sheet1!$D$1</c:f>
              <c:strCache>
                <c:ptCount val="1"/>
                <c:pt idx="0">
                  <c:v>2017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D$2:$D$13</c:f>
            </c:numRef>
          </c:val>
          <c:extLst>
            <c:ext xmlns:c16="http://schemas.microsoft.com/office/drawing/2014/chart" uri="{C3380CC4-5D6E-409C-BE32-E72D297353CC}">
              <c16:uniqueId val="{00000007-76DC-4E22-B7BC-BDF3224781FD}"/>
            </c:ext>
          </c:extLst>
        </c:ser>
        <c:ser>
          <c:idx val="4"/>
          <c:order val="7"/>
          <c:tx>
            <c:strRef>
              <c:f>Sheet1!$E$1</c:f>
              <c:strCache>
                <c:ptCount val="1"/>
                <c:pt idx="0">
                  <c:v>2018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E$2:$E$13</c:f>
            </c:numRef>
          </c:val>
          <c:extLst>
            <c:ext xmlns:c16="http://schemas.microsoft.com/office/drawing/2014/chart" uri="{C3380CC4-5D6E-409C-BE32-E72D297353CC}">
              <c16:uniqueId val="{00000008-76DC-4E22-B7BC-BDF3224781FD}"/>
            </c:ext>
          </c:extLst>
        </c:ser>
        <c:ser>
          <c:idx val="5"/>
          <c:order val="8"/>
          <c:tx>
            <c:strRef>
              <c:f>Sheet1!$F$1</c:f>
              <c:strCache>
                <c:ptCount val="1"/>
                <c:pt idx="0">
                  <c:v>2019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F$2:$F$13</c:f>
            </c:numRef>
          </c:val>
          <c:extLst>
            <c:ext xmlns:c16="http://schemas.microsoft.com/office/drawing/2014/chart" uri="{C3380CC4-5D6E-409C-BE32-E72D297353CC}">
              <c16:uniqueId val="{00000009-76DC-4E22-B7BC-BDF3224781FD}"/>
            </c:ext>
          </c:extLst>
        </c:ser>
        <c:ser>
          <c:idx val="6"/>
          <c:order val="9"/>
          <c:tx>
            <c:strRef>
              <c:f>Sheet1!$G$1</c:f>
              <c:strCache>
                <c:ptCount val="1"/>
                <c:pt idx="0">
                  <c:v>2020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G$2:$G$13</c:f>
            </c:numRef>
          </c:val>
          <c:extLst>
            <c:ext xmlns:c16="http://schemas.microsoft.com/office/drawing/2014/chart" uri="{C3380CC4-5D6E-409C-BE32-E72D297353CC}">
              <c16:uniqueId val="{0000000A-76DC-4E22-B7BC-BDF3224781FD}"/>
            </c:ext>
          </c:extLst>
        </c:ser>
        <c:ser>
          <c:idx val="7"/>
          <c:order val="10"/>
          <c:tx>
            <c:strRef>
              <c:f>Sheet1!$H$1</c:f>
              <c:strCache>
                <c:ptCount val="1"/>
                <c:pt idx="0">
                  <c:v>2021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H$2:$H$13</c:f>
            </c:numRef>
          </c:val>
          <c:extLst>
            <c:ext xmlns:c16="http://schemas.microsoft.com/office/drawing/2014/chart" uri="{C3380CC4-5D6E-409C-BE32-E72D297353CC}">
              <c16:uniqueId val="{0000000B-76DC-4E22-B7BC-BDF3224781FD}"/>
            </c:ext>
          </c:extLst>
        </c:ser>
        <c:ser>
          <c:idx val="8"/>
          <c:order val="11"/>
          <c:tx>
            <c:strRef>
              <c:f>Sheet1!$I$1</c:f>
              <c:strCache>
                <c:ptCount val="1"/>
                <c:pt idx="0">
                  <c:v>2022</c:v>
                </c:pt>
              </c:strCache>
            </c:strRef>
          </c:tx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I$2:$I$13</c:f>
            </c:numRef>
          </c:val>
          <c:extLst>
            <c:ext xmlns:c16="http://schemas.microsoft.com/office/drawing/2014/chart" uri="{C3380CC4-5D6E-409C-BE32-E72D297353CC}">
              <c16:uniqueId val="{0000000C-76DC-4E22-B7BC-BDF3224781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50"/>
        <c:axId val="88618880"/>
        <c:axId val="88620032"/>
      </c:barChart>
      <c:lineChart>
        <c:grouping val="standard"/>
        <c:varyColors val="0"/>
        <c:ser>
          <c:idx val="10"/>
          <c:order val="3"/>
          <c:tx>
            <c:strRef>
              <c:f>Sheet1!$L$1</c:f>
              <c:strCache>
                <c:ptCount val="1"/>
                <c:pt idx="0">
                  <c:v>10-Jahres-Mittel</c:v>
                </c:pt>
              </c:strCache>
            </c:strRef>
          </c:tx>
          <c:spPr>
            <a:ln w="38100">
              <a:solidFill>
                <a:srgbClr val="00004D"/>
              </a:solidFill>
            </a:ln>
            <a:effectLst/>
          </c:spPr>
          <c:marker>
            <c:symbol val="circle"/>
            <c:size val="9"/>
            <c:spPr>
              <a:solidFill>
                <a:srgbClr val="00004D"/>
              </a:solidFill>
              <a:ln>
                <a:solidFill>
                  <a:srgbClr val="00004D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214D6B62-985B-47FA-9FED-BE84E9F78CFE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76DC-4E22-B7BC-BDF3224781F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5A622B4-C171-4CF8-ABCC-C788A55179FA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76DC-4E22-B7BC-BDF3224781F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34500CA-3D18-494C-832C-AF564E370748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76DC-4E22-B7BC-BDF3224781F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3D1C501-DE63-4BE8-A043-20CDB74287B4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76DC-4E22-B7BC-BDF3224781F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D0A401F-531C-4C28-B565-B848BA3367A0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76DC-4E22-B7BC-BDF3224781FD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04D6C462-EF44-4CD1-9B0E-0B4F607D81DF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76DC-4E22-B7BC-BDF3224781FD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FF9FD1ED-D70C-42B1-8F05-8CD32F2CA514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76DC-4E22-B7BC-BDF3224781FD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3F264B12-A93F-4029-B632-3A8481E09543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76DC-4E22-B7BC-BDF3224781FD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6DB51040-75B5-4EF9-9AD1-41A705FDB808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76DC-4E22-B7BC-BDF3224781FD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AD5797F4-0BBC-4EAB-8652-F53884BCFD0D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76DC-4E22-B7BC-BDF3224781FD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A1D8D1E-0D38-4D2D-83F8-9FD0904D7B27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76DC-4E22-B7BC-BDF3224781FD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574B17FC-2C10-47D0-98B8-CC2BBAB04514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76DC-4E22-B7BC-BDF3224781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de-DE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L$2:$L$13</c:f>
              <c:numCache>
                <c:formatCode>#,##0.0</c:formatCode>
                <c:ptCount val="12"/>
                <c:pt idx="0">
                  <c:v>48.120243684362052</c:v>
                </c:pt>
                <c:pt idx="1">
                  <c:v>44.272595866337731</c:v>
                </c:pt>
                <c:pt idx="2">
                  <c:v>46.537198289063419</c:v>
                </c:pt>
                <c:pt idx="3">
                  <c:v>42.144167222392561</c:v>
                </c:pt>
                <c:pt idx="4">
                  <c:v>42.256364982498674</c:v>
                </c:pt>
                <c:pt idx="5">
                  <c:v>41.151313564907035</c:v>
                </c:pt>
                <c:pt idx="6">
                  <c:v>42.360207718639437</c:v>
                </c:pt>
                <c:pt idx="7">
                  <c:v>42.018663650267158</c:v>
                </c:pt>
                <c:pt idx="8">
                  <c:v>41.442983106959161</c:v>
                </c:pt>
                <c:pt idx="9">
                  <c:v>44.055607062505352</c:v>
                </c:pt>
                <c:pt idx="10">
                  <c:v>44.997563849155355</c:v>
                </c:pt>
                <c:pt idx="11">
                  <c:v>44.898391033581639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Sheet1!$O$2:$O$13</c15:f>
                <c15:dlblRangeCache>
                  <c:ptCount val="12"/>
                  <c:pt idx="0">
                    <c:v>-1,2%</c:v>
                  </c:pt>
                  <c:pt idx="1">
                    <c:v>-0,6%</c:v>
                  </c:pt>
                  <c:pt idx="2">
                    <c:v>+2,1%</c:v>
                  </c:pt>
                  <c:pt idx="3">
                    <c:v>-2,5%</c:v>
                  </c:pt>
                  <c:pt idx="4">
                    <c:v>+0,3%</c:v>
                  </c:pt>
                  <c:pt idx="5">
                    <c:v>-0,1%</c:v>
                  </c:pt>
                  <c:pt idx="6">
                    <c:v>+0,8%</c:v>
                  </c:pt>
                  <c:pt idx="7">
                    <c:v>-1,0%</c:v>
                  </c:pt>
                  <c:pt idx="8">
                    <c:v>+0,6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A-76DC-4E22-B7BC-BDF3224781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8618880"/>
        <c:axId val="88620032"/>
      </c:lineChart>
      <c:catAx>
        <c:axId val="88618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3">
            <a:solidFill>
              <a:srgbClr val="B5C0C9"/>
            </a:solidFill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endParaRPr lang="de-DE"/>
          </a:p>
        </c:txPr>
        <c:crossAx val="88620032"/>
        <c:crosses val="autoZero"/>
        <c:auto val="0"/>
        <c:lblAlgn val="ctr"/>
        <c:lblOffset val="100"/>
        <c:noMultiLvlLbl val="0"/>
      </c:catAx>
      <c:valAx>
        <c:axId val="88620032"/>
        <c:scaling>
          <c:orientation val="minMax"/>
          <c:min val="0"/>
        </c:scaling>
        <c:delete val="0"/>
        <c:axPos val="l"/>
        <c:majorGridlines>
          <c:spPr>
            <a:ln w="9525">
              <a:solidFill>
                <a:srgbClr val="B5C0C9"/>
              </a:solidFill>
              <a:prstDash val="solid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400"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r>
                  <a:rPr lang="de-DE" sz="1400" b="1">
                    <a:effectLst/>
                    <a:latin typeface="Calibri" panose="020F0502020204030204" pitchFamily="34" charset="0"/>
                    <a:cs typeface="Calibri" panose="020F0502020204030204" pitchFamily="34" charset="0"/>
                  </a:rPr>
                  <a:t>in Mrd. kWh</a:t>
                </a:r>
                <a:endParaRPr lang="de-DE" sz="1400">
                  <a:effectLst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c:rich>
          </c:tx>
          <c:layout>
            <c:manualLayout>
              <c:xMode val="edge"/>
              <c:yMode val="edge"/>
              <c:x val="0"/>
              <c:y val="0.287983386301704"/>
            </c:manualLayout>
          </c:layout>
          <c:overlay val="0"/>
        </c:title>
        <c:numFmt formatCode="#,##0" sourceLinked="0"/>
        <c:majorTickMark val="none"/>
        <c:minorTickMark val="none"/>
        <c:tickLblPos val="nextTo"/>
        <c:spPr>
          <a:ln w="9523">
            <a:noFill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endParaRPr lang="de-DE"/>
          </a:p>
        </c:txPr>
        <c:crossAx val="88618880"/>
        <c:crosses val="autoZero"/>
        <c:crossBetween val="between"/>
      </c:valAx>
      <c:spPr>
        <a:noFill/>
        <a:ln w="25394">
          <a:noFill/>
        </a:ln>
      </c:spPr>
    </c:plotArea>
    <c:legend>
      <c:legendPos val="r"/>
      <c:layout>
        <c:manualLayout>
          <c:xMode val="edge"/>
          <c:yMode val="edge"/>
          <c:x val="0.80916683353357366"/>
          <c:y val="0.439102444894164"/>
          <c:w val="0.18931253218147492"/>
          <c:h val="0.30089592423090578"/>
        </c:manualLayout>
      </c:layout>
      <c:overlay val="1"/>
      <c:spPr>
        <a:noFill/>
        <a:ln w="25394">
          <a:noFill/>
        </a:ln>
      </c:spPr>
      <c:txPr>
        <a:bodyPr/>
        <a:lstStyle/>
        <a:p>
          <a:pPr algn="just">
            <a:defRPr sz="1200" b="0" i="0" u="none" strike="noStrike" baseline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400"/>
            </a:pPr>
            <a:r>
              <a:rPr lang="de-DE" sz="1600" b="0" dirty="0">
                <a:solidFill>
                  <a:schemeClr val="bg2"/>
                </a:solidFill>
                <a:effectLst/>
              </a:rPr>
              <a:t>Bruttostromerzeugung 2025 bisher</a:t>
            </a:r>
            <a:r>
              <a:rPr lang="de-DE" sz="1600" b="0">
                <a:solidFill>
                  <a:schemeClr val="bg2"/>
                </a:solidFill>
                <a:effectLst/>
              </a:rPr>
              <a:t>: 366 </a:t>
            </a:r>
            <a:r>
              <a:rPr lang="de-DE" sz="1600" b="0" dirty="0">
                <a:solidFill>
                  <a:schemeClr val="bg2"/>
                </a:solidFill>
                <a:effectLst/>
              </a:rPr>
              <a:t>Mrd. kWh*</a:t>
            </a:r>
            <a:br>
              <a:rPr lang="de-DE" sz="1600" b="0" dirty="0">
                <a:solidFill>
                  <a:schemeClr val="bg2"/>
                </a:solidFill>
                <a:effectLst/>
              </a:rPr>
            </a:br>
            <a:r>
              <a:rPr lang="de-DE" sz="1600" b="0" dirty="0">
                <a:solidFill>
                  <a:schemeClr val="bg2"/>
                </a:solidFill>
                <a:effectLst/>
              </a:rPr>
              <a:t>(Veränderung zum Vorjahreszeitraum gesamt</a:t>
            </a:r>
            <a:r>
              <a:rPr lang="de-DE" sz="1600" b="0">
                <a:solidFill>
                  <a:schemeClr val="bg2"/>
                </a:solidFill>
                <a:effectLst/>
              </a:rPr>
              <a:t>: +1,2</a:t>
            </a:r>
            <a:r>
              <a:rPr lang="de-DE" sz="1600" b="0" baseline="0">
                <a:solidFill>
                  <a:schemeClr val="bg2"/>
                </a:solidFill>
                <a:effectLst/>
              </a:rPr>
              <a:t> </a:t>
            </a:r>
            <a:r>
              <a:rPr lang="de-DE" sz="1600" b="0" dirty="0">
                <a:solidFill>
                  <a:schemeClr val="bg2"/>
                </a:solidFill>
                <a:effectLst/>
              </a:rPr>
              <a:t>%)</a:t>
            </a:r>
          </a:p>
        </c:rich>
      </c:tx>
      <c:layout>
        <c:manualLayout>
          <c:xMode val="edge"/>
          <c:yMode val="edge"/>
          <c:x val="8.0976187517047915E-4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8.0052204481083633E-2"/>
          <c:y val="0.19499272589265951"/>
          <c:w val="0.73063108674159016"/>
          <c:h val="0.67744499615210263"/>
        </c:manualLayout>
      </c:layout>
      <c:barChart>
        <c:barDir val="col"/>
        <c:grouping val="stacked"/>
        <c:varyColors val="0"/>
        <c:ser>
          <c:idx val="0"/>
          <c:order val="1"/>
          <c:tx>
            <c:strRef>
              <c:f>'2025'!$A$15</c:f>
              <c:strCache>
                <c:ptCount val="1"/>
                <c:pt idx="0">
                  <c:v>Konventionell</c:v>
                </c:pt>
              </c:strCache>
            </c:strRef>
          </c:tx>
          <c:spPr>
            <a:solidFill>
              <a:srgbClr val="576874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15:$M$15</c:f>
              <c:numCache>
                <c:formatCode>#,##0.000</c:formatCode>
                <c:ptCount val="12"/>
                <c:pt idx="0">
                  <c:v>23.378870524439808</c:v>
                </c:pt>
                <c:pt idx="1">
                  <c:v>23.911508466238438</c:v>
                </c:pt>
                <c:pt idx="2">
                  <c:v>21.239230426071504</c:v>
                </c:pt>
                <c:pt idx="3">
                  <c:v>16.198330445544958</c:v>
                </c:pt>
                <c:pt idx="4">
                  <c:v>12.506031295892118</c:v>
                </c:pt>
                <c:pt idx="5">
                  <c:v>11.615215972379103</c:v>
                </c:pt>
                <c:pt idx="6">
                  <c:v>15.347371215424992</c:v>
                </c:pt>
                <c:pt idx="7">
                  <c:v>12.987740199363165</c:v>
                </c:pt>
                <c:pt idx="8">
                  <c:v>13.900325471203056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BA-424E-B0CF-37A5C325C625}"/>
            </c:ext>
          </c:extLst>
        </c:ser>
        <c:ser>
          <c:idx val="2"/>
          <c:order val="2"/>
          <c:tx>
            <c:strRef>
              <c:f>'2025'!$A$16</c:f>
              <c:strCache>
                <c:ptCount val="1"/>
                <c:pt idx="0">
                  <c:v>Erneuerbar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3"/>
              <c:layout>
                <c:manualLayout>
                  <c:x val="0"/>
                  <c:y val="3.13287673185316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E46-433A-A535-F684FA84ED5E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 algn="ctr">
                  <a:defRPr lang="de-DE" sz="12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16:$M$16</c:f>
              <c:numCache>
                <c:formatCode>#,##0.000</c:formatCode>
                <c:ptCount val="12"/>
                <c:pt idx="0">
                  <c:v>23.733023198960108</c:v>
                </c:pt>
                <c:pt idx="1">
                  <c:v>18.451501875081398</c:v>
                </c:pt>
                <c:pt idx="2">
                  <c:v>21.671806945037861</c:v>
                </c:pt>
                <c:pt idx="3">
                  <c:v>22.489937284007013</c:v>
                </c:pt>
                <c:pt idx="4">
                  <c:v>26.862619826142719</c:v>
                </c:pt>
                <c:pt idx="5">
                  <c:v>28.0651172615521</c:v>
                </c:pt>
                <c:pt idx="6">
                  <c:v>24.004556513170908</c:v>
                </c:pt>
                <c:pt idx="7">
                  <c:v>24.405273605000829</c:v>
                </c:pt>
                <c:pt idx="8">
                  <c:v>25.421891497831538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BA-424E-B0CF-37A5C325C6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98420224"/>
        <c:axId val="98421760"/>
      </c:barChart>
      <c:lineChart>
        <c:grouping val="standard"/>
        <c:varyColors val="0"/>
        <c:ser>
          <c:idx val="1"/>
          <c:order val="0"/>
          <c:tx>
            <c:strRef>
              <c:f>'2025'!$A$17</c:f>
              <c:strCache>
                <c:ptCount val="1"/>
                <c:pt idx="0">
                  <c:v>Vorjahr gesamt</c:v>
                </c:pt>
              </c:strCache>
            </c:strRef>
          </c:tx>
          <c:spPr>
            <a:ln w="31750">
              <a:solidFill>
                <a:srgbClr val="002060"/>
              </a:solidFill>
            </a:ln>
          </c:spPr>
          <c:marker>
            <c:symbol val="circle"/>
            <c:size val="7"/>
            <c:spPr>
              <a:solidFill>
                <a:srgbClr val="002060"/>
              </a:solidFill>
              <a:ln w="19050">
                <a:solidFill>
                  <a:srgbClr val="002060"/>
                </a:solidFill>
              </a:ln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AFE59E8B-9D38-43D1-AFDA-1FF49DDF3812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B186-420F-8E3F-2656580929E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CA567BF-52E9-45EE-8203-F8131C326FF5}" type="CELLREF">
                      <a:rPr lang="en-US" smtClean="0"/>
                      <a:pPr/>
                      <a:t>[ZELLBEZ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BCA567BF-52E9-45EE-8203-F8131C326FF5}</c15:txfldGUID>
                      <c15:f>'2025'!$C$18</c15:f>
                      <c15:dlblFieldTableCache>
                        <c:ptCount val="1"/>
                        <c:pt idx="0">
                          <c:v>-3,4%</c:v>
                        </c:pt>
                      </c15:dlblFieldTableCache>
                    </c15:dlblFTEntry>
                  </c15:dlblFieldTable>
                  <c15:showDataLabelsRange val="1"/>
                </c:ext>
                <c:ext xmlns:c16="http://schemas.microsoft.com/office/drawing/2014/chart" uri="{C3380CC4-5D6E-409C-BE32-E72D297353CC}">
                  <c16:uniqueId val="{00000000-A4A1-4B71-A1E9-2A00AF32095C}"/>
                </c:ext>
              </c:extLst>
            </c:dLbl>
            <c:dLbl>
              <c:idx val="2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200" b="1"/>
                    </a:pPr>
                    <a:fld id="{61ABEB3E-FA60-4A31-BD86-DA18FA08A4CD}" type="CELLREF">
                      <a:rPr lang="en-US" smtClean="0"/>
                      <a:pPr>
                        <a:defRPr sz="1200" b="1"/>
                      </a:pPr>
                      <a:t>[ZELLBEZ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61ABEB3E-FA60-4A31-BD86-DA18FA08A4CD}</c15:txfldGUID>
                      <c15:f>'2025'!$D$18</c15:f>
                      <c15:dlblFieldTableCache>
                        <c:ptCount val="1"/>
                        <c:pt idx="0">
                          <c:v>+1,0%</c:v>
                        </c:pt>
                      </c15:dlblFieldTableCache>
                    </c15:dlblFTEntry>
                  </c15:dlblFieldTable>
                  <c15:showDataLabelsRange val="1"/>
                </c:ext>
                <c:ext xmlns:c16="http://schemas.microsoft.com/office/drawing/2014/chart" uri="{C3380CC4-5D6E-409C-BE32-E72D297353CC}">
                  <c16:uniqueId val="{00000000-0D3F-4BCD-A2FB-6182078D0B8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6B1F91B-E2F7-4B91-A758-3B0E2192B062}" type="CELLREF">
                      <a:rPr lang="en-US" smtClean="0"/>
                      <a:pPr/>
                      <a:t>[ZELLBEZ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86B1F91B-E2F7-4B91-A758-3B0E2192B062}</c15:txfldGUID>
                      <c15:f>'2025'!$E$18</c15:f>
                      <c15:dlblFieldTableCache>
                        <c:ptCount val="1"/>
                        <c:pt idx="0">
                          <c:v>-2,2%</c:v>
                        </c:pt>
                      </c15:dlblFieldTableCache>
                    </c15:dlblFTEntry>
                  </c15:dlblFieldTable>
                  <c15:showDataLabelsRange val="1"/>
                </c:ext>
                <c:ext xmlns:c16="http://schemas.microsoft.com/office/drawing/2014/chart" uri="{C3380CC4-5D6E-409C-BE32-E72D297353CC}">
                  <c16:uniqueId val="{00000000-6408-408D-86BE-E470730CC69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A52E75F2-95CB-4379-94CE-3F082CB3A17B}" type="CELLREF">
                      <a:rPr lang="en-US" smtClean="0"/>
                      <a:pPr/>
                      <a:t>[ZELLBEZ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A52E75F2-95CB-4379-94CE-3F082CB3A17B}</c15:txfldGUID>
                      <c15:f>'2025'!$F$18</c15:f>
                      <c15:dlblFieldTableCache>
                        <c:ptCount val="1"/>
                        <c:pt idx="0">
                          <c:v>+5,4%</c:v>
                        </c:pt>
                      </c15:dlblFieldTableCache>
                    </c15:dlblFTEntry>
                  </c15:dlblFieldTable>
                  <c15:showDataLabelsRange val="1"/>
                </c:ext>
                <c:ext xmlns:c16="http://schemas.microsoft.com/office/drawing/2014/chart" uri="{C3380CC4-5D6E-409C-BE32-E72D297353CC}">
                  <c16:uniqueId val="{00000000-28E2-4BDA-839B-577430CD665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80CEBCF-3512-4917-BCB6-B7610E088227}" type="CELLREF">
                      <a:rPr lang="en-US" smtClean="0"/>
                      <a:pPr/>
                      <a:t>[ZELLBEZ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B80CEBCF-3512-4917-BCB6-B7610E088227}</c15:txfldGUID>
                      <c15:f>'2025'!$G$18</c15:f>
                      <c15:dlblFieldTableCache>
                        <c:ptCount val="1"/>
                        <c:pt idx="0">
                          <c:v>+7,4%</c:v>
                        </c:pt>
                      </c15:dlblFieldTableCache>
                    </c15:dlblFTEntry>
                  </c15:dlblFieldTable>
                  <c15:showDataLabelsRange val="1"/>
                </c:ext>
                <c:ext xmlns:c16="http://schemas.microsoft.com/office/drawing/2014/chart" uri="{C3380CC4-5D6E-409C-BE32-E72D297353CC}">
                  <c16:uniqueId val="{00000000-E341-4944-A9A3-505F18589EAB}"/>
                </c:ext>
              </c:extLst>
            </c:dLbl>
            <c:dLbl>
              <c:idx val="6"/>
              <c:layout>
                <c:manualLayout>
                  <c:x val="-3.4878611446775842E-2"/>
                  <c:y val="-4.6860010331340921E-2"/>
                </c:manualLayout>
              </c:layout>
              <c:tx>
                <c:rich>
                  <a:bodyPr/>
                  <a:lstStyle/>
                  <a:p>
                    <a:fld id="{C67A4AE9-75ED-48D5-839E-6495C761D631}" type="CELLREF">
                      <a:rPr lang="en-US" smtClean="0"/>
                      <a:pPr/>
                      <a:t>[ZELLBEZ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C67A4AE9-75ED-48D5-839E-6495C761D631}</c15:txfldGUID>
                      <c15:f>'2025'!$H$18</c15:f>
                      <c15:dlblFieldTableCache>
                        <c:ptCount val="1"/>
                        <c:pt idx="0">
                          <c:v>+5,1%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0-8DD1-493E-A905-0C538FAE344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74D10961-199A-4F6D-B07B-5F0BC4EC265B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B186-420F-8E3F-2656580929E0}"/>
                </c:ext>
              </c:extLst>
            </c:dLbl>
            <c:dLbl>
              <c:idx val="8"/>
              <c:layout>
                <c:manualLayout>
                  <c:x val="-3.713813888397996E-2"/>
                  <c:y val="-6.4683418197919035E-2"/>
                </c:manualLayout>
              </c:layout>
              <c:tx>
                <c:rich>
                  <a:bodyPr/>
                  <a:lstStyle/>
                  <a:p>
                    <a:fld id="{62969C85-EBC8-4EF3-8C8B-A0D412452F05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B186-420F-8E3F-2656580929E0}"/>
                </c:ext>
              </c:extLst>
            </c:dLbl>
            <c:dLbl>
              <c:idx val="9"/>
              <c:layout>
                <c:manualLayout>
                  <c:x val="-4.1748181440423367E-2"/>
                  <c:y val="-8.8113423363589405E-2"/>
                </c:manualLayout>
              </c:layout>
              <c:tx>
                <c:rich>
                  <a:bodyPr/>
                  <a:lstStyle/>
                  <a:p>
                    <a:fld id="{987E9809-E990-440B-9FC5-D6978ACE2F3A}" type="CELLRANGE">
                      <a:rPr lang="en-US"/>
                      <a:pPr/>
                      <a:t>[ZELLBEREICH]</a:t>
                    </a:fld>
                    <a:endParaRPr lang="de-DE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B186-420F-8E3F-2656580929E0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E97D383E-02C5-49A8-8270-7F63814451B1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B186-420F-8E3F-2656580929E0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B4F0CBFD-46D4-4549-AB98-5CF566320835}" type="CELLRANGE">
                      <a:rPr lang="de-DE"/>
                      <a:pPr/>
                      <a:t>[ZELLBEREICH]</a:t>
                    </a:fld>
                    <a:endParaRPr lang="de-DE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B186-420F-8E3F-2656580929E0}"/>
                </c:ext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de-DE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17:$M$17</c:f>
              <c:numCache>
                <c:formatCode>#,##0.000</c:formatCode>
                <c:ptCount val="12"/>
                <c:pt idx="0">
                  <c:v>49.457725844112289</c:v>
                </c:pt>
                <c:pt idx="1">
                  <c:v>43.872874877919649</c:v>
                </c:pt>
                <c:pt idx="2">
                  <c:v>42.467399143162353</c:v>
                </c:pt>
                <c:pt idx="3">
                  <c:v>39.543285974259959</c:v>
                </c:pt>
                <c:pt idx="4">
                  <c:v>37.361515413252931</c:v>
                </c:pt>
                <c:pt idx="5">
                  <c:v>36.948030235084325</c:v>
                </c:pt>
                <c:pt idx="6">
                  <c:v>37.450423307052773</c:v>
                </c:pt>
                <c:pt idx="7">
                  <c:v>36.7668583287128</c:v>
                </c:pt>
                <c:pt idx="8">
                  <c:v>38.14877853802016</c:v>
                </c:pt>
                <c:pt idx="9">
                  <c:v>39.569996375391057</c:v>
                </c:pt>
                <c:pt idx="10">
                  <c:v>43.181088109129938</c:v>
                </c:pt>
                <c:pt idx="11">
                  <c:v>44.417110295194092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'2025'!$B$18:$M$18</c15:f>
                <c15:dlblRangeCache>
                  <c:ptCount val="12"/>
                  <c:pt idx="0">
                    <c:v>-4,7%</c:v>
                  </c:pt>
                  <c:pt idx="1">
                    <c:v>-3,4%</c:v>
                  </c:pt>
                  <c:pt idx="2">
                    <c:v>+1,0%</c:v>
                  </c:pt>
                  <c:pt idx="3">
                    <c:v>-2,2%</c:v>
                  </c:pt>
                  <c:pt idx="4">
                    <c:v>+5,4%</c:v>
                  </c:pt>
                  <c:pt idx="5">
                    <c:v>+7,4%</c:v>
                  </c:pt>
                  <c:pt idx="6">
                    <c:v>+5,1%</c:v>
                  </c:pt>
                  <c:pt idx="7">
                    <c:v>+1,7%</c:v>
                  </c:pt>
                  <c:pt idx="8">
                    <c:v>+3,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2-81BA-424E-B0CF-37A5C325C625}"/>
            </c:ext>
          </c:extLst>
        </c:ser>
        <c:ser>
          <c:idx val="3"/>
          <c:order val="3"/>
          <c:tx>
            <c:strRef>
              <c:f>'2025'!$A$18</c:f>
              <c:strCache>
                <c:ptCount val="1"/>
                <c:pt idx="0">
                  <c:v> 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cat>
            <c:strRef>
              <c:f>'2025'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rz</c:v>
                </c:pt>
                <c:pt idx="3">
                  <c:v>Ap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'2025'!$B$18:$M$18</c:f>
              <c:numCache>
                <c:formatCode>\+0.0%;\-0.0%;\±0.0%</c:formatCode>
                <c:ptCount val="12"/>
                <c:pt idx="0">
                  <c:v>-4.7431055121828547E-2</c:v>
                </c:pt>
                <c:pt idx="1">
                  <c:v>-3.4414533827590521E-2</c:v>
                </c:pt>
                <c:pt idx="2">
                  <c:v>1.0446559876470474E-2</c:v>
                </c:pt>
                <c:pt idx="3">
                  <c:v>-2.1622336729035463E-2</c:v>
                </c:pt>
                <c:pt idx="4">
                  <c:v>5.3722010110701435E-2</c:v>
                </c:pt>
                <c:pt idx="5">
                  <c:v>7.3949896150414807E-2</c:v>
                </c:pt>
                <c:pt idx="6">
                  <c:v>5.0773909975672549E-2</c:v>
                </c:pt>
                <c:pt idx="7">
                  <c:v>1.7030431864835327E-2</c:v>
                </c:pt>
                <c:pt idx="8">
                  <c:v>3.0759528246623979E-2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81BA-424E-B0CF-37A5C325C6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8420224"/>
        <c:axId val="98421760"/>
      </c:lineChart>
      <c:catAx>
        <c:axId val="9842022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525">
            <a:solidFill>
              <a:srgbClr val="B5C0C9"/>
            </a:solidFill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98421760"/>
        <c:crosses val="autoZero"/>
        <c:auto val="1"/>
        <c:lblAlgn val="ctr"/>
        <c:lblOffset val="100"/>
        <c:noMultiLvlLbl val="0"/>
      </c:catAx>
      <c:valAx>
        <c:axId val="98421760"/>
        <c:scaling>
          <c:orientation val="minMax"/>
          <c:min val="-0.2"/>
        </c:scaling>
        <c:delete val="0"/>
        <c:axPos val="l"/>
        <c:majorGridlines>
          <c:spPr>
            <a:ln w="9525">
              <a:solidFill>
                <a:srgbClr val="B5C0C9"/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400" b="1"/>
                </a:pPr>
                <a:r>
                  <a:rPr lang="de-DE" sz="1400" b="1"/>
                  <a:t>in Mrd. kWh</a:t>
                </a:r>
              </a:p>
            </c:rich>
          </c:tx>
          <c:layout>
            <c:manualLayout>
              <c:xMode val="edge"/>
              <c:yMode val="edge"/>
              <c:x val="0"/>
              <c:y val="0.33344033650653088"/>
            </c:manualLayout>
          </c:layout>
          <c:overlay val="0"/>
        </c:title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9842022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2737021479583306"/>
          <c:y val="0.30514520869947515"/>
          <c:w val="0.16350604501667776"/>
          <c:h val="0.51523351032396636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6671</cdr:x>
      <cdr:y>0</cdr:y>
    </cdr:from>
    <cdr:to>
      <cdr:x>0.82866</cdr:x>
      <cdr:y>0.04452</cdr:y>
    </cdr:to>
    <cdr:sp macro="" textlink="">
      <cdr:nvSpPr>
        <cdr:cNvPr id="2" name="Textfeld 1">
          <a:extLst xmlns:a="http://schemas.openxmlformats.org/drawingml/2006/main">
            <a:ext uri="{FF2B5EF4-FFF2-40B4-BE49-F238E27FC236}">
              <a16:creationId xmlns:a16="http://schemas.microsoft.com/office/drawing/2014/main" id="{FFDDCD6F-18F5-4A2E-B341-69E024BE3D77}"/>
            </a:ext>
          </a:extLst>
        </cdr:cNvPr>
        <cdr:cNvSpPr txBox="1"/>
      </cdr:nvSpPr>
      <cdr:spPr>
        <a:xfrm xmlns:a="http://schemas.openxmlformats.org/drawingml/2006/main">
          <a:off x="5568617" y="-71909"/>
          <a:ext cx="1352669" cy="14425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none" lIns="0" tIns="0" rIns="0" bIns="0" rtlCol="0" anchor="t" anchorCtr="0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>
            <a:spcBef>
              <a:spcPts val="500"/>
            </a:spcBef>
            <a:spcAft>
              <a:spcPts val="500"/>
            </a:spcAft>
            <a:buClr>
              <a:schemeClr val="bg2"/>
            </a:buClr>
          </a:pPr>
          <a:r>
            <a:rPr lang="de-DE" sz="1200" u="sng" dirty="0"/>
            <a:t>Bestandsgebäude</a:t>
          </a:r>
        </a:p>
      </cdr:txBody>
    </cdr:sp>
  </cdr:relSizeAnchor>
  <cdr:relSizeAnchor xmlns:cdr="http://schemas.openxmlformats.org/drawingml/2006/chartDrawing">
    <cdr:from>
      <cdr:x>0.66665</cdr:x>
      <cdr:y>0.29022</cdr:y>
    </cdr:from>
    <cdr:to>
      <cdr:x>0.8286</cdr:x>
      <cdr:y>0.33474</cdr:y>
    </cdr:to>
    <cdr:sp macro="" textlink="">
      <cdr:nvSpPr>
        <cdr:cNvPr id="3" name="Textfeld 1">
          <a:extLst xmlns:a="http://schemas.openxmlformats.org/drawingml/2006/main">
            <a:ext uri="{FF2B5EF4-FFF2-40B4-BE49-F238E27FC236}">
              <a16:creationId xmlns:a16="http://schemas.microsoft.com/office/drawing/2014/main" id="{E81ABB87-5EF2-4B1D-BF3F-F1B9C284AE89}"/>
            </a:ext>
          </a:extLst>
        </cdr:cNvPr>
        <cdr:cNvSpPr txBox="1"/>
      </cdr:nvSpPr>
      <cdr:spPr>
        <a:xfrm xmlns:a="http://schemas.openxmlformats.org/drawingml/2006/main">
          <a:off x="5760096" y="1003176"/>
          <a:ext cx="1399315" cy="15388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none" lIns="0" tIns="0" rIns="0" bIns="0" rtlCol="0" anchor="t" anchorCtr="0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>
            <a:spcBef>
              <a:spcPts val="500"/>
            </a:spcBef>
            <a:spcAft>
              <a:spcPts val="500"/>
            </a:spcAft>
            <a:buClr>
              <a:schemeClr val="bg2"/>
            </a:buClr>
          </a:pPr>
          <a:r>
            <a:rPr lang="de-DE" sz="1200" u="sng" dirty="0"/>
            <a:t>Neue Gebäude</a:t>
          </a:r>
        </a:p>
      </cdr:txBody>
    </cdr:sp>
  </cdr:relSizeAnchor>
  <cdr:relSizeAnchor xmlns:cdr="http://schemas.openxmlformats.org/drawingml/2006/chartDrawing">
    <cdr:from>
      <cdr:x>0.34876</cdr:x>
      <cdr:y>0.53664</cdr:y>
    </cdr:from>
    <cdr:to>
      <cdr:x>0.39748</cdr:x>
      <cdr:y>0.60659</cdr:y>
    </cdr:to>
    <cdr:sp macro="" textlink="">
      <cdr:nvSpPr>
        <cdr:cNvPr id="10" name="Textfeld 9">
          <a:extLst xmlns:a="http://schemas.openxmlformats.org/drawingml/2006/main">
            <a:ext uri="{FF2B5EF4-FFF2-40B4-BE49-F238E27FC236}">
              <a16:creationId xmlns:a16="http://schemas.microsoft.com/office/drawing/2014/main" id="{15C030D2-5459-4472-A744-29614F20C91B}"/>
            </a:ext>
          </a:extLst>
        </cdr:cNvPr>
        <cdr:cNvSpPr txBox="1"/>
      </cdr:nvSpPr>
      <cdr:spPr>
        <a:xfrm xmlns:a="http://schemas.openxmlformats.org/drawingml/2006/main">
          <a:off x="2912993" y="1738892"/>
          <a:ext cx="406928" cy="2266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wrap="none" lIns="0" tIns="0" rIns="0" bIns="0" rtlCol="0" anchor="t" anchorCtr="0">
          <a:noAutofit/>
        </a:bodyPr>
        <a:lstStyle xmlns:a="http://schemas.openxmlformats.org/drawingml/2006/main"/>
        <a:p xmlns:a="http://schemas.openxmlformats.org/drawingml/2006/main">
          <a:pPr algn="l">
            <a:spcBef>
              <a:spcPts val="500"/>
            </a:spcBef>
            <a:spcAft>
              <a:spcPts val="500"/>
            </a:spcAft>
            <a:buClr>
              <a:schemeClr val="bg2"/>
            </a:buClr>
          </a:pPr>
          <a:endParaRPr lang="de-DE" sz="1400" b="1" dirty="0">
            <a:solidFill>
              <a:schemeClr val="bg2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Kopfzeilenplatzhalter 1">
            <a:extLst>
              <a:ext uri="{FF2B5EF4-FFF2-40B4-BE49-F238E27FC236}">
                <a16:creationId xmlns:a16="http://schemas.microsoft.com/office/drawing/2014/main" id="{B7E0D023-DC2E-40F3-AB57-F708A08CE45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82496" y="251544"/>
            <a:ext cx="4572000" cy="216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l">
              <a:defRPr sz="800"/>
            </a:lvl1pPr>
          </a:lstStyle>
          <a:p>
            <a:r>
              <a:rPr lang="de-DE"/>
              <a:t>Autor | Präsentationstitel</a:t>
            </a:r>
          </a:p>
        </p:txBody>
      </p:sp>
      <p:sp>
        <p:nvSpPr>
          <p:cNvPr id="7" name="Datumsplatzhalter 2">
            <a:extLst>
              <a:ext uri="{FF2B5EF4-FFF2-40B4-BE49-F238E27FC236}">
                <a16:creationId xmlns:a16="http://schemas.microsoft.com/office/drawing/2014/main" id="{943A45EB-06B7-4020-99B0-2C8492851E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935424" y="8892480"/>
            <a:ext cx="720000" cy="216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/>
            </a:lvl1pPr>
          </a:lstStyle>
          <a:p>
            <a:fld id="{BC0B81C2-A179-43DD-ACD2-D6CE1263EA4B}" type="datetime1">
              <a:rPr lang="de-DE" smtClean="0"/>
              <a:t>05.12.2025</a:t>
            </a:fld>
            <a:endParaRPr lang="de-DE"/>
          </a:p>
        </p:txBody>
      </p:sp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C776F0C5-70E5-42D7-9B6C-AC01D87BEBA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82496" y="8892504"/>
            <a:ext cx="2971800" cy="216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/>
            </a:lvl1pPr>
          </a:lstStyle>
          <a:p>
            <a:r>
              <a:rPr lang="de-DE"/>
              <a:t>© BDEW e.V. | Bundesverband der Energie- und Wasserwirtschaft </a:t>
            </a:r>
            <a:endParaRPr lang="de-DE" dirty="0"/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45BCA47C-F1EF-41DA-B1F2-60C76BEE706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58416" y="8892504"/>
            <a:ext cx="720000" cy="216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/>
            </a:lvl1pPr>
          </a:lstStyle>
          <a:p>
            <a:r>
              <a:rPr lang="de-DE" dirty="0"/>
              <a:t>Folie </a:t>
            </a:r>
            <a:fld id="{6D4C9060-DEFA-4A83-8BDF-49E32732D5D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3EF5DCB9-0962-47FA-9E8C-8271888C500D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0"/>
            <a:ext cx="6861600" cy="739329"/>
            <a:chOff x="-11966" y="-1340"/>
            <a:chExt cx="6861600" cy="739329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AC726F28-2A48-4204-872B-D31DD92D18D8}"/>
                </a:ext>
              </a:extLst>
            </p:cNvPr>
            <p:cNvCxnSpPr/>
            <p:nvPr/>
          </p:nvCxnSpPr>
          <p:spPr>
            <a:xfrm>
              <a:off x="-11966" y="538660"/>
              <a:ext cx="6861600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48928F78-3B2C-4091-A07E-E7D1CF97D26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66948" y="-1340"/>
              <a:ext cx="1104108" cy="739329"/>
              <a:chOff x="5266948" y="-1340"/>
              <a:chExt cx="1104108" cy="739329"/>
            </a:xfrm>
          </p:grpSpPr>
          <p:sp>
            <p:nvSpPr>
              <p:cNvPr id="15" name="Rectangle 23">
                <a:extLst>
                  <a:ext uri="{FF2B5EF4-FFF2-40B4-BE49-F238E27FC236}">
                    <a16:creationId xmlns:a16="http://schemas.microsoft.com/office/drawing/2014/main" id="{5B4FA058-6148-4E81-A51C-C6287B021C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66948" y="-1340"/>
                <a:ext cx="1104108" cy="739329"/>
              </a:xfrm>
              <a:prstGeom prst="rect">
                <a:avLst/>
              </a:prstGeom>
              <a:solidFill>
                <a:srgbClr val="FFFFF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" name="Freeform 24">
                <a:extLst>
                  <a:ext uri="{FF2B5EF4-FFF2-40B4-BE49-F238E27FC236}">
                    <a16:creationId xmlns:a16="http://schemas.microsoft.com/office/drawing/2014/main" id="{57AE41FA-48FC-481C-AB63-B0F6756A4C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3735" y="246595"/>
                <a:ext cx="216995" cy="186868"/>
              </a:xfrm>
              <a:custGeom>
                <a:avLst/>
                <a:gdLst>
                  <a:gd name="T0" fmla="*/ 0 w 333"/>
                  <a:gd name="T1" fmla="*/ 0 h 287"/>
                  <a:gd name="T2" fmla="*/ 0 w 333"/>
                  <a:gd name="T3" fmla="*/ 162 h 287"/>
                  <a:gd name="T4" fmla="*/ 167 w 333"/>
                  <a:gd name="T5" fmla="*/ 224 h 287"/>
                  <a:gd name="T6" fmla="*/ 235 w 333"/>
                  <a:gd name="T7" fmla="*/ 255 h 287"/>
                  <a:gd name="T8" fmla="*/ 333 w 333"/>
                  <a:gd name="T9" fmla="*/ 162 h 287"/>
                  <a:gd name="T10" fmla="*/ 333 w 333"/>
                  <a:gd name="T11" fmla="*/ 0 h 287"/>
                  <a:gd name="T12" fmla="*/ 274 w 333"/>
                  <a:gd name="T13" fmla="*/ 0 h 287"/>
                  <a:gd name="T14" fmla="*/ 274 w 333"/>
                  <a:gd name="T15" fmla="*/ 163 h 287"/>
                  <a:gd name="T16" fmla="*/ 196 w 333"/>
                  <a:gd name="T17" fmla="*/ 163 h 287"/>
                  <a:gd name="T18" fmla="*/ 196 w 333"/>
                  <a:gd name="T19" fmla="*/ 0 h 287"/>
                  <a:gd name="T20" fmla="*/ 137 w 333"/>
                  <a:gd name="T21" fmla="*/ 0 h 287"/>
                  <a:gd name="T22" fmla="*/ 137 w 333"/>
                  <a:gd name="T23" fmla="*/ 163 h 287"/>
                  <a:gd name="T24" fmla="*/ 98 w 333"/>
                  <a:gd name="T25" fmla="*/ 201 h 287"/>
                  <a:gd name="T26" fmla="*/ 59 w 333"/>
                  <a:gd name="T27" fmla="*/ 163 h 287"/>
                  <a:gd name="T28" fmla="*/ 59 w 333"/>
                  <a:gd name="T29" fmla="*/ 0 h 287"/>
                  <a:gd name="T30" fmla="*/ 0 w 333"/>
                  <a:gd name="T31" fmla="*/ 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33" h="287">
                    <a:moveTo>
                      <a:pt x="0" y="0"/>
                    </a:moveTo>
                    <a:lnTo>
                      <a:pt x="0" y="162"/>
                    </a:lnTo>
                    <a:cubicBezTo>
                      <a:pt x="3" y="248"/>
                      <a:pt x="108" y="287"/>
                      <a:pt x="167" y="224"/>
                    </a:cubicBezTo>
                    <a:cubicBezTo>
                      <a:pt x="184" y="244"/>
                      <a:pt x="209" y="255"/>
                      <a:pt x="235" y="255"/>
                    </a:cubicBezTo>
                    <a:cubicBezTo>
                      <a:pt x="287" y="256"/>
                      <a:pt x="331" y="215"/>
                      <a:pt x="333" y="162"/>
                    </a:cubicBezTo>
                    <a:lnTo>
                      <a:pt x="333" y="0"/>
                    </a:lnTo>
                    <a:lnTo>
                      <a:pt x="274" y="0"/>
                    </a:lnTo>
                    <a:lnTo>
                      <a:pt x="274" y="163"/>
                    </a:lnTo>
                    <a:cubicBezTo>
                      <a:pt x="272" y="213"/>
                      <a:pt x="198" y="213"/>
                      <a:pt x="196" y="163"/>
                    </a:cubicBezTo>
                    <a:lnTo>
                      <a:pt x="196" y="0"/>
                    </a:lnTo>
                    <a:lnTo>
                      <a:pt x="137" y="0"/>
                    </a:lnTo>
                    <a:lnTo>
                      <a:pt x="137" y="163"/>
                    </a:lnTo>
                    <a:cubicBezTo>
                      <a:pt x="137" y="184"/>
                      <a:pt x="119" y="201"/>
                      <a:pt x="98" y="201"/>
                    </a:cubicBezTo>
                    <a:cubicBezTo>
                      <a:pt x="77" y="201"/>
                      <a:pt x="60" y="184"/>
                      <a:pt x="59" y="163"/>
                    </a:cubicBezTo>
                    <a:lnTo>
                      <a:pt x="5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2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" name="Freeform 25">
                <a:extLst>
                  <a:ext uri="{FF2B5EF4-FFF2-40B4-BE49-F238E27FC236}">
                    <a16:creationId xmlns:a16="http://schemas.microsoft.com/office/drawing/2014/main" id="{2BA52DDE-4E9D-4423-9DA7-49A8B4CCE4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4425" y="236011"/>
                <a:ext cx="176283" cy="183204"/>
              </a:xfrm>
              <a:custGeom>
                <a:avLst/>
                <a:gdLst>
                  <a:gd name="T0" fmla="*/ 269 w 271"/>
                  <a:gd name="T1" fmla="*/ 157 h 281"/>
                  <a:gd name="T2" fmla="*/ 271 w 271"/>
                  <a:gd name="T3" fmla="*/ 137 h 281"/>
                  <a:gd name="T4" fmla="*/ 153 w 271"/>
                  <a:gd name="T5" fmla="*/ 7 h 281"/>
                  <a:gd name="T6" fmla="*/ 12 w 271"/>
                  <a:gd name="T7" fmla="*/ 113 h 281"/>
                  <a:gd name="T8" fmla="*/ 104 w 271"/>
                  <a:gd name="T9" fmla="*/ 263 h 281"/>
                  <a:gd name="T10" fmla="*/ 262 w 271"/>
                  <a:gd name="T11" fmla="*/ 184 h 281"/>
                  <a:gd name="T12" fmla="*/ 201 w 271"/>
                  <a:gd name="T13" fmla="*/ 184 h 281"/>
                  <a:gd name="T14" fmla="*/ 64 w 271"/>
                  <a:gd name="T15" fmla="*/ 130 h 281"/>
                  <a:gd name="T16" fmla="*/ 209 w 271"/>
                  <a:gd name="T17" fmla="*/ 103 h 281"/>
                  <a:gd name="T18" fmla="*/ 116 w 271"/>
                  <a:gd name="T19" fmla="*/ 103 h 281"/>
                  <a:gd name="T20" fmla="*/ 116 w 271"/>
                  <a:gd name="T21" fmla="*/ 157 h 281"/>
                  <a:gd name="T22" fmla="*/ 269 w 271"/>
                  <a:gd name="T23" fmla="*/ 157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1" h="281">
                    <a:moveTo>
                      <a:pt x="269" y="157"/>
                    </a:moveTo>
                    <a:cubicBezTo>
                      <a:pt x="271" y="150"/>
                      <a:pt x="271" y="144"/>
                      <a:pt x="271" y="137"/>
                    </a:cubicBezTo>
                    <a:cubicBezTo>
                      <a:pt x="271" y="70"/>
                      <a:pt x="220" y="13"/>
                      <a:pt x="153" y="7"/>
                    </a:cubicBezTo>
                    <a:cubicBezTo>
                      <a:pt x="86" y="0"/>
                      <a:pt x="25" y="46"/>
                      <a:pt x="12" y="113"/>
                    </a:cubicBezTo>
                    <a:cubicBezTo>
                      <a:pt x="0" y="179"/>
                      <a:pt x="39" y="244"/>
                      <a:pt x="104" y="263"/>
                    </a:cubicBezTo>
                    <a:cubicBezTo>
                      <a:pt x="169" y="281"/>
                      <a:pt x="238" y="247"/>
                      <a:pt x="262" y="184"/>
                    </a:cubicBezTo>
                    <a:lnTo>
                      <a:pt x="201" y="184"/>
                    </a:lnTo>
                    <a:cubicBezTo>
                      <a:pt x="154" y="245"/>
                      <a:pt x="57" y="206"/>
                      <a:pt x="64" y="130"/>
                    </a:cubicBezTo>
                    <a:cubicBezTo>
                      <a:pt x="72" y="53"/>
                      <a:pt x="175" y="34"/>
                      <a:pt x="209" y="103"/>
                    </a:cubicBezTo>
                    <a:lnTo>
                      <a:pt x="116" y="103"/>
                    </a:lnTo>
                    <a:lnTo>
                      <a:pt x="116" y="157"/>
                    </a:lnTo>
                    <a:lnTo>
                      <a:pt x="269" y="157"/>
                    </a:lnTo>
                    <a:close/>
                  </a:path>
                </a:pathLst>
              </a:custGeom>
              <a:solidFill>
                <a:srgbClr val="C2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" name="Freeform 26">
                <a:extLst>
                  <a:ext uri="{FF2B5EF4-FFF2-40B4-BE49-F238E27FC236}">
                    <a16:creationId xmlns:a16="http://schemas.microsoft.com/office/drawing/2014/main" id="{331EA82F-4306-429D-A7F4-73AEDCF9FE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28142" y="170057"/>
                <a:ext cx="170176" cy="242643"/>
              </a:xfrm>
              <a:custGeom>
                <a:avLst/>
                <a:gdLst>
                  <a:gd name="T0" fmla="*/ 148 w 261"/>
                  <a:gd name="T1" fmla="*/ 316 h 372"/>
                  <a:gd name="T2" fmla="*/ 130 w 261"/>
                  <a:gd name="T3" fmla="*/ 318 h 372"/>
                  <a:gd name="T4" fmla="*/ 101 w 261"/>
                  <a:gd name="T5" fmla="*/ 312 h 372"/>
                  <a:gd name="T6" fmla="*/ 136 w 261"/>
                  <a:gd name="T7" fmla="*/ 164 h 372"/>
                  <a:gd name="T8" fmla="*/ 148 w 261"/>
                  <a:gd name="T9" fmla="*/ 316 h 372"/>
                  <a:gd name="T10" fmla="*/ 205 w 261"/>
                  <a:gd name="T11" fmla="*/ 0 h 372"/>
                  <a:gd name="T12" fmla="*/ 205 w 261"/>
                  <a:gd name="T13" fmla="*/ 138 h 372"/>
                  <a:gd name="T14" fmla="*/ 130 w 261"/>
                  <a:gd name="T15" fmla="*/ 113 h 372"/>
                  <a:gd name="T16" fmla="*/ 0 w 261"/>
                  <a:gd name="T17" fmla="*/ 242 h 372"/>
                  <a:gd name="T18" fmla="*/ 130 w 261"/>
                  <a:gd name="T19" fmla="*/ 372 h 372"/>
                  <a:gd name="T20" fmla="*/ 205 w 261"/>
                  <a:gd name="T21" fmla="*/ 347 h 372"/>
                  <a:gd name="T22" fmla="*/ 205 w 261"/>
                  <a:gd name="T23" fmla="*/ 369 h 372"/>
                  <a:gd name="T24" fmla="*/ 261 w 261"/>
                  <a:gd name="T25" fmla="*/ 369 h 372"/>
                  <a:gd name="T26" fmla="*/ 261 w 261"/>
                  <a:gd name="T27" fmla="*/ 0 h 372"/>
                  <a:gd name="T28" fmla="*/ 205 w 261"/>
                  <a:gd name="T29" fmla="*/ 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1" h="372">
                    <a:moveTo>
                      <a:pt x="148" y="316"/>
                    </a:moveTo>
                    <a:cubicBezTo>
                      <a:pt x="142" y="318"/>
                      <a:pt x="136" y="318"/>
                      <a:pt x="130" y="318"/>
                    </a:cubicBezTo>
                    <a:cubicBezTo>
                      <a:pt x="120" y="318"/>
                      <a:pt x="110" y="316"/>
                      <a:pt x="101" y="312"/>
                    </a:cubicBezTo>
                    <a:cubicBezTo>
                      <a:pt x="20" y="279"/>
                      <a:pt x="49" y="157"/>
                      <a:pt x="136" y="164"/>
                    </a:cubicBezTo>
                    <a:cubicBezTo>
                      <a:pt x="224" y="171"/>
                      <a:pt x="234" y="296"/>
                      <a:pt x="148" y="316"/>
                    </a:cubicBezTo>
                    <a:moveTo>
                      <a:pt x="205" y="0"/>
                    </a:moveTo>
                    <a:lnTo>
                      <a:pt x="205" y="138"/>
                    </a:lnTo>
                    <a:cubicBezTo>
                      <a:pt x="184" y="122"/>
                      <a:pt x="157" y="113"/>
                      <a:pt x="130" y="113"/>
                    </a:cubicBezTo>
                    <a:cubicBezTo>
                      <a:pt x="59" y="113"/>
                      <a:pt x="0" y="171"/>
                      <a:pt x="0" y="242"/>
                    </a:cubicBezTo>
                    <a:cubicBezTo>
                      <a:pt x="0" y="314"/>
                      <a:pt x="59" y="372"/>
                      <a:pt x="130" y="372"/>
                    </a:cubicBezTo>
                    <a:cubicBezTo>
                      <a:pt x="157" y="372"/>
                      <a:pt x="184" y="363"/>
                      <a:pt x="205" y="347"/>
                    </a:cubicBezTo>
                    <a:lnTo>
                      <a:pt x="205" y="369"/>
                    </a:lnTo>
                    <a:lnTo>
                      <a:pt x="261" y="369"/>
                    </a:lnTo>
                    <a:lnTo>
                      <a:pt x="261" y="0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C2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9" name="Freeform 27">
                <a:extLst>
                  <a:ext uri="{FF2B5EF4-FFF2-40B4-BE49-F238E27FC236}">
                    <a16:creationId xmlns:a16="http://schemas.microsoft.com/office/drawing/2014/main" id="{2BB290F3-7717-473B-A2F7-B4BC2EB179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8195" y="170057"/>
                <a:ext cx="170176" cy="242643"/>
              </a:xfrm>
              <a:custGeom>
                <a:avLst/>
                <a:gdLst>
                  <a:gd name="T0" fmla="*/ 160 w 261"/>
                  <a:gd name="T1" fmla="*/ 312 h 372"/>
                  <a:gd name="T2" fmla="*/ 131 w 261"/>
                  <a:gd name="T3" fmla="*/ 319 h 372"/>
                  <a:gd name="T4" fmla="*/ 114 w 261"/>
                  <a:gd name="T5" fmla="*/ 316 h 372"/>
                  <a:gd name="T6" fmla="*/ 125 w 261"/>
                  <a:gd name="T7" fmla="*/ 165 h 372"/>
                  <a:gd name="T8" fmla="*/ 160 w 261"/>
                  <a:gd name="T9" fmla="*/ 312 h 372"/>
                  <a:gd name="T10" fmla="*/ 131 w 261"/>
                  <a:gd name="T11" fmla="*/ 113 h 372"/>
                  <a:gd name="T12" fmla="*/ 56 w 261"/>
                  <a:gd name="T13" fmla="*/ 138 h 372"/>
                  <a:gd name="T14" fmla="*/ 56 w 261"/>
                  <a:gd name="T15" fmla="*/ 0 h 372"/>
                  <a:gd name="T16" fmla="*/ 0 w 261"/>
                  <a:gd name="T17" fmla="*/ 0 h 372"/>
                  <a:gd name="T18" fmla="*/ 0 w 261"/>
                  <a:gd name="T19" fmla="*/ 369 h 372"/>
                  <a:gd name="T20" fmla="*/ 56 w 261"/>
                  <a:gd name="T21" fmla="*/ 369 h 372"/>
                  <a:gd name="T22" fmla="*/ 56 w 261"/>
                  <a:gd name="T23" fmla="*/ 347 h 372"/>
                  <a:gd name="T24" fmla="*/ 131 w 261"/>
                  <a:gd name="T25" fmla="*/ 372 h 372"/>
                  <a:gd name="T26" fmla="*/ 261 w 261"/>
                  <a:gd name="T27" fmla="*/ 242 h 372"/>
                  <a:gd name="T28" fmla="*/ 131 w 261"/>
                  <a:gd name="T29" fmla="*/ 113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1" h="372">
                    <a:moveTo>
                      <a:pt x="160" y="312"/>
                    </a:moveTo>
                    <a:cubicBezTo>
                      <a:pt x="151" y="316"/>
                      <a:pt x="141" y="319"/>
                      <a:pt x="131" y="319"/>
                    </a:cubicBezTo>
                    <a:cubicBezTo>
                      <a:pt x="125" y="318"/>
                      <a:pt x="119" y="318"/>
                      <a:pt x="114" y="316"/>
                    </a:cubicBezTo>
                    <a:cubicBezTo>
                      <a:pt x="28" y="296"/>
                      <a:pt x="38" y="172"/>
                      <a:pt x="125" y="165"/>
                    </a:cubicBezTo>
                    <a:cubicBezTo>
                      <a:pt x="212" y="158"/>
                      <a:pt x="241" y="279"/>
                      <a:pt x="160" y="312"/>
                    </a:cubicBezTo>
                    <a:close/>
                    <a:moveTo>
                      <a:pt x="131" y="113"/>
                    </a:moveTo>
                    <a:cubicBezTo>
                      <a:pt x="104" y="113"/>
                      <a:pt x="78" y="122"/>
                      <a:pt x="56" y="138"/>
                    </a:cubicBezTo>
                    <a:lnTo>
                      <a:pt x="56" y="0"/>
                    </a:lnTo>
                    <a:lnTo>
                      <a:pt x="0" y="0"/>
                    </a:lnTo>
                    <a:lnTo>
                      <a:pt x="0" y="369"/>
                    </a:lnTo>
                    <a:lnTo>
                      <a:pt x="56" y="369"/>
                    </a:lnTo>
                    <a:lnTo>
                      <a:pt x="56" y="347"/>
                    </a:lnTo>
                    <a:cubicBezTo>
                      <a:pt x="78" y="363"/>
                      <a:pt x="104" y="372"/>
                      <a:pt x="131" y="372"/>
                    </a:cubicBezTo>
                    <a:cubicBezTo>
                      <a:pt x="203" y="372"/>
                      <a:pt x="261" y="314"/>
                      <a:pt x="261" y="242"/>
                    </a:cubicBezTo>
                    <a:cubicBezTo>
                      <a:pt x="261" y="171"/>
                      <a:pt x="203" y="113"/>
                      <a:pt x="131" y="113"/>
                    </a:cubicBezTo>
                  </a:path>
                </a:pathLst>
              </a:custGeom>
              <a:solidFill>
                <a:srgbClr val="C2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0" name="Freeform 28">
                <a:extLst>
                  <a:ext uri="{FF2B5EF4-FFF2-40B4-BE49-F238E27FC236}">
                    <a16:creationId xmlns:a16="http://schemas.microsoft.com/office/drawing/2014/main" id="{59734C7C-E9F6-47CA-9E6C-3CE6164977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8195" y="495346"/>
                <a:ext cx="762535" cy="71653"/>
              </a:xfrm>
              <a:custGeom>
                <a:avLst/>
                <a:gdLst>
                  <a:gd name="T0" fmla="*/ 43 w 1170"/>
                  <a:gd name="T1" fmla="*/ 53 h 110"/>
                  <a:gd name="T2" fmla="*/ 48 w 1170"/>
                  <a:gd name="T3" fmla="*/ 9 h 110"/>
                  <a:gd name="T4" fmla="*/ 111 w 1170"/>
                  <a:gd name="T5" fmla="*/ 47 h 110"/>
                  <a:gd name="T6" fmla="*/ 61 w 1170"/>
                  <a:gd name="T7" fmla="*/ 29 h 110"/>
                  <a:gd name="T8" fmla="*/ 89 w 1170"/>
                  <a:gd name="T9" fmla="*/ 41 h 110"/>
                  <a:gd name="T10" fmla="*/ 149 w 1170"/>
                  <a:gd name="T11" fmla="*/ 28 h 110"/>
                  <a:gd name="T12" fmla="*/ 150 w 1170"/>
                  <a:gd name="T13" fmla="*/ 75 h 110"/>
                  <a:gd name="T14" fmla="*/ 140 w 1170"/>
                  <a:gd name="T15" fmla="*/ 52 h 110"/>
                  <a:gd name="T16" fmla="*/ 203 w 1170"/>
                  <a:gd name="T17" fmla="*/ 35 h 110"/>
                  <a:gd name="T18" fmla="*/ 187 w 1170"/>
                  <a:gd name="T19" fmla="*/ 86 h 110"/>
                  <a:gd name="T20" fmla="*/ 220 w 1170"/>
                  <a:gd name="T21" fmla="*/ 29 h 110"/>
                  <a:gd name="T22" fmla="*/ 229 w 1170"/>
                  <a:gd name="T23" fmla="*/ 57 h 110"/>
                  <a:gd name="T24" fmla="*/ 264 w 1170"/>
                  <a:gd name="T25" fmla="*/ 91 h 110"/>
                  <a:gd name="T26" fmla="*/ 279 w 1170"/>
                  <a:gd name="T27" fmla="*/ 94 h 110"/>
                  <a:gd name="T28" fmla="*/ 253 w 1170"/>
                  <a:gd name="T29" fmla="*/ 73 h 110"/>
                  <a:gd name="T30" fmla="*/ 312 w 1170"/>
                  <a:gd name="T31" fmla="*/ 10 h 110"/>
                  <a:gd name="T32" fmla="*/ 310 w 1170"/>
                  <a:gd name="T33" fmla="*/ 41 h 110"/>
                  <a:gd name="T34" fmla="*/ 372 w 1170"/>
                  <a:gd name="T35" fmla="*/ 56 h 110"/>
                  <a:gd name="T36" fmla="*/ 371 w 1170"/>
                  <a:gd name="T37" fmla="*/ 69 h 110"/>
                  <a:gd name="T38" fmla="*/ 357 w 1170"/>
                  <a:gd name="T39" fmla="*/ 52 h 110"/>
                  <a:gd name="T40" fmla="*/ 384 w 1170"/>
                  <a:gd name="T41" fmla="*/ 79 h 110"/>
                  <a:gd name="T42" fmla="*/ 500 w 1170"/>
                  <a:gd name="T43" fmla="*/ 46 h 110"/>
                  <a:gd name="T44" fmla="*/ 460 w 1170"/>
                  <a:gd name="T45" fmla="*/ 46 h 110"/>
                  <a:gd name="T46" fmla="*/ 448 w 1170"/>
                  <a:gd name="T47" fmla="*/ 86 h 110"/>
                  <a:gd name="T48" fmla="*/ 488 w 1170"/>
                  <a:gd name="T49" fmla="*/ 86 h 110"/>
                  <a:gd name="T50" fmla="*/ 577 w 1170"/>
                  <a:gd name="T51" fmla="*/ 47 h 110"/>
                  <a:gd name="T52" fmla="*/ 556 w 1170"/>
                  <a:gd name="T53" fmla="*/ 40 h 110"/>
                  <a:gd name="T54" fmla="*/ 548 w 1170"/>
                  <a:gd name="T55" fmla="*/ 87 h 110"/>
                  <a:gd name="T56" fmla="*/ 552 w 1170"/>
                  <a:gd name="T57" fmla="*/ 76 h 110"/>
                  <a:gd name="T58" fmla="*/ 632 w 1170"/>
                  <a:gd name="T59" fmla="*/ 69 h 110"/>
                  <a:gd name="T60" fmla="*/ 629 w 1170"/>
                  <a:gd name="T61" fmla="*/ 31 h 110"/>
                  <a:gd name="T62" fmla="*/ 611 w 1170"/>
                  <a:gd name="T63" fmla="*/ 75 h 110"/>
                  <a:gd name="T64" fmla="*/ 684 w 1170"/>
                  <a:gd name="T65" fmla="*/ 69 h 110"/>
                  <a:gd name="T66" fmla="*/ 680 w 1170"/>
                  <a:gd name="T67" fmla="*/ 31 h 110"/>
                  <a:gd name="T68" fmla="*/ 663 w 1170"/>
                  <a:gd name="T69" fmla="*/ 75 h 110"/>
                  <a:gd name="T70" fmla="*/ 743 w 1170"/>
                  <a:gd name="T71" fmla="*/ 56 h 110"/>
                  <a:gd name="T72" fmla="*/ 741 w 1170"/>
                  <a:gd name="T73" fmla="*/ 70 h 110"/>
                  <a:gd name="T74" fmla="*/ 727 w 1170"/>
                  <a:gd name="T75" fmla="*/ 52 h 110"/>
                  <a:gd name="T76" fmla="*/ 783 w 1170"/>
                  <a:gd name="T77" fmla="*/ 28 h 110"/>
                  <a:gd name="T78" fmla="*/ 756 w 1170"/>
                  <a:gd name="T79" fmla="*/ 43 h 110"/>
                  <a:gd name="T80" fmla="*/ 789 w 1170"/>
                  <a:gd name="T81" fmla="*/ 41 h 110"/>
                  <a:gd name="T82" fmla="*/ 805 w 1170"/>
                  <a:gd name="T83" fmla="*/ 79 h 110"/>
                  <a:gd name="T84" fmla="*/ 843 w 1170"/>
                  <a:gd name="T85" fmla="*/ 9 h 110"/>
                  <a:gd name="T86" fmla="*/ 900 w 1170"/>
                  <a:gd name="T87" fmla="*/ 58 h 110"/>
                  <a:gd name="T88" fmla="*/ 916 w 1170"/>
                  <a:gd name="T89" fmla="*/ 61 h 110"/>
                  <a:gd name="T90" fmla="*/ 924 w 1170"/>
                  <a:gd name="T91" fmla="*/ 39 h 110"/>
                  <a:gd name="T92" fmla="*/ 978 w 1170"/>
                  <a:gd name="T93" fmla="*/ 28 h 110"/>
                  <a:gd name="T94" fmla="*/ 977 w 1170"/>
                  <a:gd name="T95" fmla="*/ 86 h 110"/>
                  <a:gd name="T96" fmla="*/ 990 w 1170"/>
                  <a:gd name="T97" fmla="*/ 75 h 110"/>
                  <a:gd name="T98" fmla="*/ 1075 w 1170"/>
                  <a:gd name="T99" fmla="*/ 56 h 110"/>
                  <a:gd name="T100" fmla="*/ 1073 w 1170"/>
                  <a:gd name="T101" fmla="*/ 70 h 110"/>
                  <a:gd name="T102" fmla="*/ 1060 w 1170"/>
                  <a:gd name="T103" fmla="*/ 52 h 110"/>
                  <a:gd name="T104" fmla="*/ 1138 w 1170"/>
                  <a:gd name="T105" fmla="*/ 47 h 110"/>
                  <a:gd name="T106" fmla="*/ 1088 w 1170"/>
                  <a:gd name="T107" fmla="*/ 29 h 110"/>
                  <a:gd name="T108" fmla="*/ 1116 w 1170"/>
                  <a:gd name="T109" fmla="*/ 41 h 110"/>
                  <a:gd name="T110" fmla="*/ 1160 w 1170"/>
                  <a:gd name="T111" fmla="*/ 7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70" h="110">
                    <a:moveTo>
                      <a:pt x="49" y="86"/>
                    </a:moveTo>
                    <a:lnTo>
                      <a:pt x="49" y="72"/>
                    </a:lnTo>
                    <a:lnTo>
                      <a:pt x="16" y="72"/>
                    </a:lnTo>
                    <a:lnTo>
                      <a:pt x="16" y="53"/>
                    </a:lnTo>
                    <a:lnTo>
                      <a:pt x="43" y="53"/>
                    </a:lnTo>
                    <a:lnTo>
                      <a:pt x="43" y="39"/>
                    </a:lnTo>
                    <a:lnTo>
                      <a:pt x="16" y="39"/>
                    </a:lnTo>
                    <a:lnTo>
                      <a:pt x="16" y="22"/>
                    </a:lnTo>
                    <a:lnTo>
                      <a:pt x="47" y="22"/>
                    </a:lnTo>
                    <a:lnTo>
                      <a:pt x="48" y="9"/>
                    </a:lnTo>
                    <a:lnTo>
                      <a:pt x="0" y="9"/>
                    </a:lnTo>
                    <a:lnTo>
                      <a:pt x="0" y="86"/>
                    </a:lnTo>
                    <a:lnTo>
                      <a:pt x="49" y="86"/>
                    </a:lnTo>
                    <a:close/>
                    <a:moveTo>
                      <a:pt x="111" y="86"/>
                    </a:moveTo>
                    <a:lnTo>
                      <a:pt x="111" y="47"/>
                    </a:lnTo>
                    <a:cubicBezTo>
                      <a:pt x="111" y="42"/>
                      <a:pt x="110" y="38"/>
                      <a:pt x="108" y="34"/>
                    </a:cubicBezTo>
                    <a:cubicBezTo>
                      <a:pt x="105" y="30"/>
                      <a:pt x="100" y="27"/>
                      <a:pt x="94" y="28"/>
                    </a:cubicBezTo>
                    <a:cubicBezTo>
                      <a:pt x="88" y="29"/>
                      <a:pt x="81" y="32"/>
                      <a:pt x="76" y="37"/>
                    </a:cubicBezTo>
                    <a:cubicBezTo>
                      <a:pt x="76" y="34"/>
                      <a:pt x="76" y="32"/>
                      <a:pt x="75" y="29"/>
                    </a:cubicBezTo>
                    <a:lnTo>
                      <a:pt x="61" y="29"/>
                    </a:lnTo>
                    <a:cubicBezTo>
                      <a:pt x="61" y="29"/>
                      <a:pt x="62" y="36"/>
                      <a:pt x="62" y="43"/>
                    </a:cubicBezTo>
                    <a:lnTo>
                      <a:pt x="62" y="86"/>
                    </a:lnTo>
                    <a:lnTo>
                      <a:pt x="77" y="86"/>
                    </a:lnTo>
                    <a:lnTo>
                      <a:pt x="77" y="47"/>
                    </a:lnTo>
                    <a:cubicBezTo>
                      <a:pt x="80" y="44"/>
                      <a:pt x="84" y="42"/>
                      <a:pt x="89" y="41"/>
                    </a:cubicBezTo>
                    <a:cubicBezTo>
                      <a:pt x="93" y="41"/>
                      <a:pt x="96" y="42"/>
                      <a:pt x="96" y="48"/>
                    </a:cubicBezTo>
                    <a:lnTo>
                      <a:pt x="96" y="86"/>
                    </a:lnTo>
                    <a:lnTo>
                      <a:pt x="111" y="86"/>
                    </a:lnTo>
                    <a:close/>
                    <a:moveTo>
                      <a:pt x="173" y="56"/>
                    </a:moveTo>
                    <a:cubicBezTo>
                      <a:pt x="173" y="43"/>
                      <a:pt x="168" y="28"/>
                      <a:pt x="149" y="28"/>
                    </a:cubicBezTo>
                    <a:cubicBezTo>
                      <a:pt x="132" y="28"/>
                      <a:pt x="124" y="42"/>
                      <a:pt x="124" y="58"/>
                    </a:cubicBezTo>
                    <a:cubicBezTo>
                      <a:pt x="124" y="68"/>
                      <a:pt x="127" y="87"/>
                      <a:pt x="148" y="87"/>
                    </a:cubicBezTo>
                    <a:cubicBezTo>
                      <a:pt x="156" y="87"/>
                      <a:pt x="165" y="85"/>
                      <a:pt x="172" y="81"/>
                    </a:cubicBezTo>
                    <a:lnTo>
                      <a:pt x="172" y="70"/>
                    </a:lnTo>
                    <a:cubicBezTo>
                      <a:pt x="165" y="73"/>
                      <a:pt x="158" y="75"/>
                      <a:pt x="150" y="75"/>
                    </a:cubicBezTo>
                    <a:cubicBezTo>
                      <a:pt x="144" y="75"/>
                      <a:pt x="140" y="71"/>
                      <a:pt x="140" y="61"/>
                    </a:cubicBezTo>
                    <a:lnTo>
                      <a:pt x="173" y="61"/>
                    </a:lnTo>
                    <a:cubicBezTo>
                      <a:pt x="173" y="61"/>
                      <a:pt x="173" y="57"/>
                      <a:pt x="173" y="56"/>
                    </a:cubicBezTo>
                    <a:moveTo>
                      <a:pt x="158" y="52"/>
                    </a:moveTo>
                    <a:lnTo>
                      <a:pt x="140" y="52"/>
                    </a:lnTo>
                    <a:cubicBezTo>
                      <a:pt x="140" y="47"/>
                      <a:pt x="142" y="39"/>
                      <a:pt x="149" y="39"/>
                    </a:cubicBezTo>
                    <a:cubicBezTo>
                      <a:pt x="157" y="39"/>
                      <a:pt x="158" y="47"/>
                      <a:pt x="158" y="52"/>
                    </a:cubicBezTo>
                    <a:moveTo>
                      <a:pt x="220" y="29"/>
                    </a:moveTo>
                    <a:cubicBezTo>
                      <a:pt x="220" y="29"/>
                      <a:pt x="220" y="28"/>
                      <a:pt x="214" y="28"/>
                    </a:cubicBezTo>
                    <a:cubicBezTo>
                      <a:pt x="209" y="29"/>
                      <a:pt x="205" y="31"/>
                      <a:pt x="203" y="35"/>
                    </a:cubicBezTo>
                    <a:cubicBezTo>
                      <a:pt x="202" y="35"/>
                      <a:pt x="202" y="35"/>
                      <a:pt x="202" y="36"/>
                    </a:cubicBezTo>
                    <a:cubicBezTo>
                      <a:pt x="202" y="33"/>
                      <a:pt x="201" y="31"/>
                      <a:pt x="201" y="29"/>
                    </a:cubicBezTo>
                    <a:lnTo>
                      <a:pt x="186" y="29"/>
                    </a:lnTo>
                    <a:cubicBezTo>
                      <a:pt x="187" y="34"/>
                      <a:pt x="187" y="38"/>
                      <a:pt x="187" y="43"/>
                    </a:cubicBezTo>
                    <a:lnTo>
                      <a:pt x="187" y="86"/>
                    </a:lnTo>
                    <a:lnTo>
                      <a:pt x="202" y="86"/>
                    </a:lnTo>
                    <a:lnTo>
                      <a:pt x="202" y="46"/>
                    </a:lnTo>
                    <a:cubicBezTo>
                      <a:pt x="205" y="43"/>
                      <a:pt x="208" y="41"/>
                      <a:pt x="212" y="41"/>
                    </a:cubicBezTo>
                    <a:cubicBezTo>
                      <a:pt x="214" y="41"/>
                      <a:pt x="217" y="41"/>
                      <a:pt x="219" y="41"/>
                    </a:cubicBezTo>
                    <a:lnTo>
                      <a:pt x="220" y="29"/>
                    </a:lnTo>
                    <a:close/>
                    <a:moveTo>
                      <a:pt x="281" y="29"/>
                    </a:moveTo>
                    <a:lnTo>
                      <a:pt x="266" y="29"/>
                    </a:lnTo>
                    <a:cubicBezTo>
                      <a:pt x="266" y="30"/>
                      <a:pt x="266" y="31"/>
                      <a:pt x="266" y="33"/>
                    </a:cubicBezTo>
                    <a:cubicBezTo>
                      <a:pt x="262" y="30"/>
                      <a:pt x="257" y="28"/>
                      <a:pt x="252" y="28"/>
                    </a:cubicBezTo>
                    <a:cubicBezTo>
                      <a:pt x="236" y="28"/>
                      <a:pt x="229" y="40"/>
                      <a:pt x="229" y="57"/>
                    </a:cubicBezTo>
                    <a:cubicBezTo>
                      <a:pt x="229" y="68"/>
                      <a:pt x="232" y="86"/>
                      <a:pt x="249" y="86"/>
                    </a:cubicBezTo>
                    <a:cubicBezTo>
                      <a:pt x="255" y="86"/>
                      <a:pt x="261" y="83"/>
                      <a:pt x="265" y="78"/>
                    </a:cubicBezTo>
                    <a:cubicBezTo>
                      <a:pt x="265" y="78"/>
                      <a:pt x="265" y="82"/>
                      <a:pt x="265" y="83"/>
                    </a:cubicBezTo>
                    <a:lnTo>
                      <a:pt x="265" y="87"/>
                    </a:lnTo>
                    <a:cubicBezTo>
                      <a:pt x="265" y="88"/>
                      <a:pt x="264" y="90"/>
                      <a:pt x="264" y="91"/>
                    </a:cubicBezTo>
                    <a:cubicBezTo>
                      <a:pt x="263" y="95"/>
                      <a:pt x="260" y="97"/>
                      <a:pt x="254" y="97"/>
                    </a:cubicBezTo>
                    <a:cubicBezTo>
                      <a:pt x="246" y="97"/>
                      <a:pt x="239" y="95"/>
                      <a:pt x="232" y="92"/>
                    </a:cubicBezTo>
                    <a:lnTo>
                      <a:pt x="231" y="106"/>
                    </a:lnTo>
                    <a:cubicBezTo>
                      <a:pt x="238" y="109"/>
                      <a:pt x="246" y="110"/>
                      <a:pt x="254" y="110"/>
                    </a:cubicBezTo>
                    <a:cubicBezTo>
                      <a:pt x="268" y="110"/>
                      <a:pt x="277" y="105"/>
                      <a:pt x="279" y="94"/>
                    </a:cubicBezTo>
                    <a:cubicBezTo>
                      <a:pt x="280" y="91"/>
                      <a:pt x="280" y="88"/>
                      <a:pt x="280" y="85"/>
                    </a:cubicBezTo>
                    <a:lnTo>
                      <a:pt x="280" y="43"/>
                    </a:lnTo>
                    <a:cubicBezTo>
                      <a:pt x="280" y="36"/>
                      <a:pt x="281" y="29"/>
                      <a:pt x="281" y="29"/>
                    </a:cubicBezTo>
                    <a:moveTo>
                      <a:pt x="265" y="67"/>
                    </a:moveTo>
                    <a:cubicBezTo>
                      <a:pt x="262" y="71"/>
                      <a:pt x="258" y="73"/>
                      <a:pt x="253" y="73"/>
                    </a:cubicBezTo>
                    <a:cubicBezTo>
                      <a:pt x="246" y="73"/>
                      <a:pt x="244" y="63"/>
                      <a:pt x="244" y="57"/>
                    </a:cubicBezTo>
                    <a:cubicBezTo>
                      <a:pt x="244" y="51"/>
                      <a:pt x="245" y="40"/>
                      <a:pt x="254" y="40"/>
                    </a:cubicBezTo>
                    <a:cubicBezTo>
                      <a:pt x="258" y="40"/>
                      <a:pt x="261" y="41"/>
                      <a:pt x="265" y="43"/>
                    </a:cubicBezTo>
                    <a:lnTo>
                      <a:pt x="265" y="67"/>
                    </a:lnTo>
                    <a:close/>
                    <a:moveTo>
                      <a:pt x="312" y="10"/>
                    </a:moveTo>
                    <a:cubicBezTo>
                      <a:pt x="312" y="5"/>
                      <a:pt x="308" y="0"/>
                      <a:pt x="302" y="0"/>
                    </a:cubicBezTo>
                    <a:cubicBezTo>
                      <a:pt x="290" y="0"/>
                      <a:pt x="290" y="19"/>
                      <a:pt x="302" y="19"/>
                    </a:cubicBezTo>
                    <a:cubicBezTo>
                      <a:pt x="307" y="19"/>
                      <a:pt x="312" y="15"/>
                      <a:pt x="312" y="10"/>
                    </a:cubicBezTo>
                    <a:close/>
                    <a:moveTo>
                      <a:pt x="310" y="86"/>
                    </a:moveTo>
                    <a:lnTo>
                      <a:pt x="310" y="41"/>
                    </a:lnTo>
                    <a:cubicBezTo>
                      <a:pt x="310" y="37"/>
                      <a:pt x="310" y="33"/>
                      <a:pt x="309" y="29"/>
                    </a:cubicBezTo>
                    <a:lnTo>
                      <a:pt x="295" y="29"/>
                    </a:lnTo>
                    <a:lnTo>
                      <a:pt x="295" y="86"/>
                    </a:lnTo>
                    <a:lnTo>
                      <a:pt x="310" y="86"/>
                    </a:lnTo>
                    <a:close/>
                    <a:moveTo>
                      <a:pt x="372" y="56"/>
                    </a:moveTo>
                    <a:cubicBezTo>
                      <a:pt x="372" y="43"/>
                      <a:pt x="367" y="28"/>
                      <a:pt x="348" y="28"/>
                    </a:cubicBezTo>
                    <a:cubicBezTo>
                      <a:pt x="331" y="28"/>
                      <a:pt x="323" y="42"/>
                      <a:pt x="323" y="58"/>
                    </a:cubicBezTo>
                    <a:cubicBezTo>
                      <a:pt x="323" y="68"/>
                      <a:pt x="326" y="87"/>
                      <a:pt x="347" y="87"/>
                    </a:cubicBezTo>
                    <a:cubicBezTo>
                      <a:pt x="355" y="87"/>
                      <a:pt x="364" y="85"/>
                      <a:pt x="371" y="81"/>
                    </a:cubicBezTo>
                    <a:lnTo>
                      <a:pt x="371" y="69"/>
                    </a:lnTo>
                    <a:cubicBezTo>
                      <a:pt x="364" y="73"/>
                      <a:pt x="357" y="75"/>
                      <a:pt x="349" y="75"/>
                    </a:cubicBezTo>
                    <a:cubicBezTo>
                      <a:pt x="342" y="75"/>
                      <a:pt x="339" y="71"/>
                      <a:pt x="339" y="61"/>
                    </a:cubicBezTo>
                    <a:lnTo>
                      <a:pt x="372" y="61"/>
                    </a:lnTo>
                    <a:cubicBezTo>
                      <a:pt x="372" y="61"/>
                      <a:pt x="372" y="57"/>
                      <a:pt x="372" y="56"/>
                    </a:cubicBezTo>
                    <a:moveTo>
                      <a:pt x="357" y="52"/>
                    </a:moveTo>
                    <a:lnTo>
                      <a:pt x="339" y="52"/>
                    </a:lnTo>
                    <a:cubicBezTo>
                      <a:pt x="339" y="47"/>
                      <a:pt x="341" y="39"/>
                      <a:pt x="348" y="39"/>
                    </a:cubicBezTo>
                    <a:cubicBezTo>
                      <a:pt x="356" y="39"/>
                      <a:pt x="357" y="47"/>
                      <a:pt x="357" y="52"/>
                    </a:cubicBezTo>
                    <a:moveTo>
                      <a:pt x="403" y="79"/>
                    </a:moveTo>
                    <a:cubicBezTo>
                      <a:pt x="402" y="67"/>
                      <a:pt x="385" y="67"/>
                      <a:pt x="384" y="79"/>
                    </a:cubicBezTo>
                    <a:cubicBezTo>
                      <a:pt x="384" y="84"/>
                      <a:pt x="388" y="88"/>
                      <a:pt x="394" y="87"/>
                    </a:cubicBezTo>
                    <a:cubicBezTo>
                      <a:pt x="399" y="88"/>
                      <a:pt x="403" y="84"/>
                      <a:pt x="403" y="79"/>
                    </a:cubicBezTo>
                    <a:close/>
                    <a:moveTo>
                      <a:pt x="525" y="10"/>
                    </a:moveTo>
                    <a:lnTo>
                      <a:pt x="509" y="9"/>
                    </a:lnTo>
                    <a:lnTo>
                      <a:pt x="500" y="46"/>
                    </a:lnTo>
                    <a:cubicBezTo>
                      <a:pt x="499" y="52"/>
                      <a:pt x="497" y="63"/>
                      <a:pt x="497" y="65"/>
                    </a:cubicBezTo>
                    <a:cubicBezTo>
                      <a:pt x="496" y="63"/>
                      <a:pt x="494" y="52"/>
                      <a:pt x="493" y="46"/>
                    </a:cubicBezTo>
                    <a:lnTo>
                      <a:pt x="485" y="9"/>
                    </a:lnTo>
                    <a:lnTo>
                      <a:pt x="468" y="9"/>
                    </a:lnTo>
                    <a:lnTo>
                      <a:pt x="460" y="46"/>
                    </a:lnTo>
                    <a:cubicBezTo>
                      <a:pt x="458" y="52"/>
                      <a:pt x="457" y="62"/>
                      <a:pt x="456" y="65"/>
                    </a:cubicBezTo>
                    <a:cubicBezTo>
                      <a:pt x="456" y="62"/>
                      <a:pt x="454" y="52"/>
                      <a:pt x="453" y="46"/>
                    </a:cubicBezTo>
                    <a:lnTo>
                      <a:pt x="444" y="8"/>
                    </a:lnTo>
                    <a:lnTo>
                      <a:pt x="427" y="9"/>
                    </a:lnTo>
                    <a:lnTo>
                      <a:pt x="448" y="86"/>
                    </a:lnTo>
                    <a:lnTo>
                      <a:pt x="464" y="86"/>
                    </a:lnTo>
                    <a:lnTo>
                      <a:pt x="472" y="51"/>
                    </a:lnTo>
                    <a:cubicBezTo>
                      <a:pt x="473" y="45"/>
                      <a:pt x="476" y="31"/>
                      <a:pt x="476" y="31"/>
                    </a:cubicBezTo>
                    <a:cubicBezTo>
                      <a:pt x="476" y="31"/>
                      <a:pt x="479" y="45"/>
                      <a:pt x="480" y="51"/>
                    </a:cubicBezTo>
                    <a:lnTo>
                      <a:pt x="488" y="86"/>
                    </a:lnTo>
                    <a:lnTo>
                      <a:pt x="505" y="86"/>
                    </a:lnTo>
                    <a:lnTo>
                      <a:pt x="525" y="10"/>
                    </a:lnTo>
                    <a:close/>
                    <a:moveTo>
                      <a:pt x="578" y="86"/>
                    </a:moveTo>
                    <a:cubicBezTo>
                      <a:pt x="578" y="82"/>
                      <a:pt x="577" y="78"/>
                      <a:pt x="577" y="74"/>
                    </a:cubicBezTo>
                    <a:lnTo>
                      <a:pt x="577" y="47"/>
                    </a:lnTo>
                    <a:cubicBezTo>
                      <a:pt x="578" y="42"/>
                      <a:pt x="577" y="37"/>
                      <a:pt x="574" y="33"/>
                    </a:cubicBezTo>
                    <a:cubicBezTo>
                      <a:pt x="570" y="29"/>
                      <a:pt x="564" y="27"/>
                      <a:pt x="559" y="28"/>
                    </a:cubicBezTo>
                    <a:cubicBezTo>
                      <a:pt x="551" y="28"/>
                      <a:pt x="543" y="30"/>
                      <a:pt x="535" y="33"/>
                    </a:cubicBezTo>
                    <a:lnTo>
                      <a:pt x="536" y="45"/>
                    </a:lnTo>
                    <a:cubicBezTo>
                      <a:pt x="542" y="42"/>
                      <a:pt x="549" y="40"/>
                      <a:pt x="556" y="40"/>
                    </a:cubicBezTo>
                    <a:cubicBezTo>
                      <a:pt x="561" y="40"/>
                      <a:pt x="562" y="42"/>
                      <a:pt x="562" y="46"/>
                    </a:cubicBezTo>
                    <a:lnTo>
                      <a:pt x="562" y="52"/>
                    </a:lnTo>
                    <a:cubicBezTo>
                      <a:pt x="553" y="52"/>
                      <a:pt x="545" y="54"/>
                      <a:pt x="537" y="58"/>
                    </a:cubicBezTo>
                    <a:cubicBezTo>
                      <a:pt x="533" y="61"/>
                      <a:pt x="531" y="65"/>
                      <a:pt x="532" y="70"/>
                    </a:cubicBezTo>
                    <a:cubicBezTo>
                      <a:pt x="531" y="79"/>
                      <a:pt x="538" y="87"/>
                      <a:pt x="548" y="87"/>
                    </a:cubicBezTo>
                    <a:cubicBezTo>
                      <a:pt x="553" y="87"/>
                      <a:pt x="559" y="84"/>
                      <a:pt x="563" y="81"/>
                    </a:cubicBezTo>
                    <a:cubicBezTo>
                      <a:pt x="563" y="82"/>
                      <a:pt x="563" y="84"/>
                      <a:pt x="564" y="86"/>
                    </a:cubicBezTo>
                    <a:lnTo>
                      <a:pt x="578" y="86"/>
                    </a:lnTo>
                    <a:close/>
                    <a:moveTo>
                      <a:pt x="562" y="71"/>
                    </a:moveTo>
                    <a:cubicBezTo>
                      <a:pt x="559" y="74"/>
                      <a:pt x="556" y="75"/>
                      <a:pt x="552" y="76"/>
                    </a:cubicBezTo>
                    <a:cubicBezTo>
                      <a:pt x="548" y="76"/>
                      <a:pt x="547" y="72"/>
                      <a:pt x="547" y="69"/>
                    </a:cubicBezTo>
                    <a:cubicBezTo>
                      <a:pt x="547" y="67"/>
                      <a:pt x="547" y="65"/>
                      <a:pt x="549" y="64"/>
                    </a:cubicBezTo>
                    <a:cubicBezTo>
                      <a:pt x="553" y="62"/>
                      <a:pt x="557" y="60"/>
                      <a:pt x="562" y="61"/>
                    </a:cubicBezTo>
                    <a:lnTo>
                      <a:pt x="562" y="71"/>
                    </a:lnTo>
                    <a:close/>
                    <a:moveTo>
                      <a:pt x="632" y="69"/>
                    </a:moveTo>
                    <a:cubicBezTo>
                      <a:pt x="632" y="55"/>
                      <a:pt x="619" y="53"/>
                      <a:pt x="610" y="49"/>
                    </a:cubicBezTo>
                    <a:cubicBezTo>
                      <a:pt x="608" y="48"/>
                      <a:pt x="606" y="47"/>
                      <a:pt x="606" y="44"/>
                    </a:cubicBezTo>
                    <a:cubicBezTo>
                      <a:pt x="606" y="42"/>
                      <a:pt x="607" y="40"/>
                      <a:pt x="611" y="40"/>
                    </a:cubicBezTo>
                    <a:cubicBezTo>
                      <a:pt x="617" y="40"/>
                      <a:pt x="623" y="41"/>
                      <a:pt x="628" y="44"/>
                    </a:cubicBezTo>
                    <a:lnTo>
                      <a:pt x="629" y="31"/>
                    </a:lnTo>
                    <a:cubicBezTo>
                      <a:pt x="623" y="29"/>
                      <a:pt x="618" y="28"/>
                      <a:pt x="612" y="28"/>
                    </a:cubicBezTo>
                    <a:cubicBezTo>
                      <a:pt x="601" y="27"/>
                      <a:pt x="591" y="35"/>
                      <a:pt x="591" y="46"/>
                    </a:cubicBezTo>
                    <a:cubicBezTo>
                      <a:pt x="591" y="58"/>
                      <a:pt x="604" y="61"/>
                      <a:pt x="612" y="65"/>
                    </a:cubicBezTo>
                    <a:cubicBezTo>
                      <a:pt x="615" y="66"/>
                      <a:pt x="617" y="67"/>
                      <a:pt x="617" y="70"/>
                    </a:cubicBezTo>
                    <a:cubicBezTo>
                      <a:pt x="617" y="73"/>
                      <a:pt x="615" y="75"/>
                      <a:pt x="611" y="75"/>
                    </a:cubicBezTo>
                    <a:cubicBezTo>
                      <a:pt x="604" y="74"/>
                      <a:pt x="597" y="72"/>
                      <a:pt x="591" y="69"/>
                    </a:cubicBezTo>
                    <a:lnTo>
                      <a:pt x="590" y="83"/>
                    </a:lnTo>
                    <a:cubicBezTo>
                      <a:pt x="597" y="86"/>
                      <a:pt x="604" y="87"/>
                      <a:pt x="611" y="88"/>
                    </a:cubicBezTo>
                    <a:cubicBezTo>
                      <a:pt x="622" y="89"/>
                      <a:pt x="632" y="80"/>
                      <a:pt x="632" y="69"/>
                    </a:cubicBezTo>
                    <a:moveTo>
                      <a:pt x="684" y="69"/>
                    </a:moveTo>
                    <a:cubicBezTo>
                      <a:pt x="684" y="55"/>
                      <a:pt x="671" y="53"/>
                      <a:pt x="661" y="49"/>
                    </a:cubicBezTo>
                    <a:cubicBezTo>
                      <a:pt x="659" y="48"/>
                      <a:pt x="657" y="47"/>
                      <a:pt x="657" y="45"/>
                    </a:cubicBezTo>
                    <a:cubicBezTo>
                      <a:pt x="657" y="43"/>
                      <a:pt x="659" y="40"/>
                      <a:pt x="663" y="40"/>
                    </a:cubicBezTo>
                    <a:cubicBezTo>
                      <a:pt x="669" y="40"/>
                      <a:pt x="674" y="42"/>
                      <a:pt x="680" y="44"/>
                    </a:cubicBezTo>
                    <a:lnTo>
                      <a:pt x="680" y="31"/>
                    </a:lnTo>
                    <a:cubicBezTo>
                      <a:pt x="675" y="29"/>
                      <a:pt x="669" y="28"/>
                      <a:pt x="663" y="28"/>
                    </a:cubicBezTo>
                    <a:cubicBezTo>
                      <a:pt x="652" y="27"/>
                      <a:pt x="643" y="35"/>
                      <a:pt x="642" y="46"/>
                    </a:cubicBezTo>
                    <a:cubicBezTo>
                      <a:pt x="642" y="58"/>
                      <a:pt x="655" y="61"/>
                      <a:pt x="664" y="65"/>
                    </a:cubicBezTo>
                    <a:cubicBezTo>
                      <a:pt x="667" y="66"/>
                      <a:pt x="669" y="67"/>
                      <a:pt x="669" y="70"/>
                    </a:cubicBezTo>
                    <a:cubicBezTo>
                      <a:pt x="669" y="73"/>
                      <a:pt x="666" y="75"/>
                      <a:pt x="663" y="75"/>
                    </a:cubicBezTo>
                    <a:cubicBezTo>
                      <a:pt x="656" y="74"/>
                      <a:pt x="649" y="72"/>
                      <a:pt x="643" y="69"/>
                    </a:cubicBezTo>
                    <a:lnTo>
                      <a:pt x="642" y="83"/>
                    </a:lnTo>
                    <a:cubicBezTo>
                      <a:pt x="648" y="86"/>
                      <a:pt x="655" y="87"/>
                      <a:pt x="662" y="88"/>
                    </a:cubicBezTo>
                    <a:cubicBezTo>
                      <a:pt x="673" y="89"/>
                      <a:pt x="683" y="80"/>
                      <a:pt x="684" y="69"/>
                    </a:cubicBezTo>
                    <a:moveTo>
                      <a:pt x="743" y="56"/>
                    </a:moveTo>
                    <a:cubicBezTo>
                      <a:pt x="743" y="43"/>
                      <a:pt x="737" y="28"/>
                      <a:pt x="718" y="28"/>
                    </a:cubicBezTo>
                    <a:cubicBezTo>
                      <a:pt x="701" y="28"/>
                      <a:pt x="693" y="43"/>
                      <a:pt x="693" y="58"/>
                    </a:cubicBezTo>
                    <a:cubicBezTo>
                      <a:pt x="693" y="68"/>
                      <a:pt x="697" y="87"/>
                      <a:pt x="717" y="87"/>
                    </a:cubicBezTo>
                    <a:cubicBezTo>
                      <a:pt x="726" y="88"/>
                      <a:pt x="734" y="86"/>
                      <a:pt x="742" y="81"/>
                    </a:cubicBezTo>
                    <a:lnTo>
                      <a:pt x="741" y="70"/>
                    </a:lnTo>
                    <a:cubicBezTo>
                      <a:pt x="734" y="73"/>
                      <a:pt x="727" y="75"/>
                      <a:pt x="720" y="76"/>
                    </a:cubicBezTo>
                    <a:cubicBezTo>
                      <a:pt x="713" y="76"/>
                      <a:pt x="709" y="71"/>
                      <a:pt x="709" y="61"/>
                    </a:cubicBezTo>
                    <a:lnTo>
                      <a:pt x="742" y="61"/>
                    </a:lnTo>
                    <a:cubicBezTo>
                      <a:pt x="742" y="61"/>
                      <a:pt x="743" y="57"/>
                      <a:pt x="743" y="56"/>
                    </a:cubicBezTo>
                    <a:moveTo>
                      <a:pt x="727" y="52"/>
                    </a:moveTo>
                    <a:lnTo>
                      <a:pt x="710" y="52"/>
                    </a:lnTo>
                    <a:cubicBezTo>
                      <a:pt x="710" y="47"/>
                      <a:pt x="711" y="39"/>
                      <a:pt x="718" y="39"/>
                    </a:cubicBezTo>
                    <a:cubicBezTo>
                      <a:pt x="726" y="39"/>
                      <a:pt x="727" y="47"/>
                      <a:pt x="727" y="52"/>
                    </a:cubicBezTo>
                    <a:close/>
                    <a:moveTo>
                      <a:pt x="790" y="29"/>
                    </a:moveTo>
                    <a:cubicBezTo>
                      <a:pt x="790" y="29"/>
                      <a:pt x="789" y="28"/>
                      <a:pt x="783" y="28"/>
                    </a:cubicBezTo>
                    <a:cubicBezTo>
                      <a:pt x="779" y="29"/>
                      <a:pt x="775" y="31"/>
                      <a:pt x="772" y="35"/>
                    </a:cubicBezTo>
                    <a:cubicBezTo>
                      <a:pt x="772" y="35"/>
                      <a:pt x="771" y="35"/>
                      <a:pt x="771" y="36"/>
                    </a:cubicBezTo>
                    <a:cubicBezTo>
                      <a:pt x="771" y="34"/>
                      <a:pt x="771" y="31"/>
                      <a:pt x="770" y="29"/>
                    </a:cubicBezTo>
                    <a:lnTo>
                      <a:pt x="756" y="29"/>
                    </a:lnTo>
                    <a:cubicBezTo>
                      <a:pt x="756" y="34"/>
                      <a:pt x="756" y="38"/>
                      <a:pt x="756" y="43"/>
                    </a:cubicBezTo>
                    <a:lnTo>
                      <a:pt x="756" y="86"/>
                    </a:lnTo>
                    <a:lnTo>
                      <a:pt x="772" y="86"/>
                    </a:lnTo>
                    <a:lnTo>
                      <a:pt x="772" y="46"/>
                    </a:lnTo>
                    <a:cubicBezTo>
                      <a:pt x="774" y="43"/>
                      <a:pt x="777" y="42"/>
                      <a:pt x="781" y="41"/>
                    </a:cubicBezTo>
                    <a:cubicBezTo>
                      <a:pt x="784" y="41"/>
                      <a:pt x="786" y="41"/>
                      <a:pt x="789" y="41"/>
                    </a:cubicBezTo>
                    <a:lnTo>
                      <a:pt x="790" y="29"/>
                    </a:lnTo>
                    <a:close/>
                    <a:moveTo>
                      <a:pt x="805" y="79"/>
                    </a:moveTo>
                    <a:cubicBezTo>
                      <a:pt x="804" y="67"/>
                      <a:pt x="787" y="67"/>
                      <a:pt x="786" y="79"/>
                    </a:cubicBezTo>
                    <a:cubicBezTo>
                      <a:pt x="786" y="84"/>
                      <a:pt x="790" y="88"/>
                      <a:pt x="796" y="88"/>
                    </a:cubicBezTo>
                    <a:cubicBezTo>
                      <a:pt x="801" y="88"/>
                      <a:pt x="805" y="84"/>
                      <a:pt x="805" y="79"/>
                    </a:cubicBezTo>
                    <a:moveTo>
                      <a:pt x="891" y="86"/>
                    </a:moveTo>
                    <a:lnTo>
                      <a:pt x="891" y="72"/>
                    </a:lnTo>
                    <a:lnTo>
                      <a:pt x="859" y="72"/>
                    </a:lnTo>
                    <a:lnTo>
                      <a:pt x="859" y="9"/>
                    </a:lnTo>
                    <a:lnTo>
                      <a:pt x="843" y="9"/>
                    </a:lnTo>
                    <a:lnTo>
                      <a:pt x="843" y="86"/>
                    </a:lnTo>
                    <a:lnTo>
                      <a:pt x="891" y="86"/>
                    </a:lnTo>
                    <a:close/>
                    <a:moveTo>
                      <a:pt x="949" y="56"/>
                    </a:moveTo>
                    <a:cubicBezTo>
                      <a:pt x="949" y="43"/>
                      <a:pt x="944" y="28"/>
                      <a:pt x="924" y="28"/>
                    </a:cubicBezTo>
                    <a:cubicBezTo>
                      <a:pt x="907" y="28"/>
                      <a:pt x="900" y="43"/>
                      <a:pt x="900" y="58"/>
                    </a:cubicBezTo>
                    <a:cubicBezTo>
                      <a:pt x="900" y="68"/>
                      <a:pt x="903" y="87"/>
                      <a:pt x="923" y="87"/>
                    </a:cubicBezTo>
                    <a:cubicBezTo>
                      <a:pt x="932" y="88"/>
                      <a:pt x="940" y="86"/>
                      <a:pt x="948" y="81"/>
                    </a:cubicBezTo>
                    <a:lnTo>
                      <a:pt x="947" y="70"/>
                    </a:lnTo>
                    <a:cubicBezTo>
                      <a:pt x="941" y="73"/>
                      <a:pt x="933" y="75"/>
                      <a:pt x="926" y="76"/>
                    </a:cubicBezTo>
                    <a:cubicBezTo>
                      <a:pt x="919" y="76"/>
                      <a:pt x="916" y="71"/>
                      <a:pt x="916" y="61"/>
                    </a:cubicBezTo>
                    <a:lnTo>
                      <a:pt x="949" y="61"/>
                    </a:lnTo>
                    <a:cubicBezTo>
                      <a:pt x="949" y="61"/>
                      <a:pt x="949" y="57"/>
                      <a:pt x="949" y="56"/>
                    </a:cubicBezTo>
                    <a:moveTo>
                      <a:pt x="933" y="52"/>
                    </a:moveTo>
                    <a:lnTo>
                      <a:pt x="916" y="52"/>
                    </a:lnTo>
                    <a:cubicBezTo>
                      <a:pt x="916" y="47"/>
                      <a:pt x="917" y="39"/>
                      <a:pt x="924" y="39"/>
                    </a:cubicBezTo>
                    <a:cubicBezTo>
                      <a:pt x="932" y="39"/>
                      <a:pt x="933" y="47"/>
                      <a:pt x="933" y="52"/>
                    </a:cubicBezTo>
                    <a:close/>
                    <a:moveTo>
                      <a:pt x="1015" y="57"/>
                    </a:moveTo>
                    <a:cubicBezTo>
                      <a:pt x="1015" y="46"/>
                      <a:pt x="1012" y="28"/>
                      <a:pt x="993" y="28"/>
                    </a:cubicBezTo>
                    <a:cubicBezTo>
                      <a:pt x="988" y="28"/>
                      <a:pt x="982" y="30"/>
                      <a:pt x="978" y="34"/>
                    </a:cubicBezTo>
                    <a:cubicBezTo>
                      <a:pt x="978" y="34"/>
                      <a:pt x="978" y="30"/>
                      <a:pt x="978" y="28"/>
                    </a:cubicBezTo>
                    <a:lnTo>
                      <a:pt x="978" y="3"/>
                    </a:lnTo>
                    <a:lnTo>
                      <a:pt x="963" y="4"/>
                    </a:lnTo>
                    <a:lnTo>
                      <a:pt x="963" y="74"/>
                    </a:lnTo>
                    <a:cubicBezTo>
                      <a:pt x="963" y="78"/>
                      <a:pt x="962" y="82"/>
                      <a:pt x="962" y="86"/>
                    </a:cubicBezTo>
                    <a:lnTo>
                      <a:pt x="977" y="86"/>
                    </a:lnTo>
                    <a:cubicBezTo>
                      <a:pt x="977" y="85"/>
                      <a:pt x="977" y="83"/>
                      <a:pt x="977" y="82"/>
                    </a:cubicBezTo>
                    <a:cubicBezTo>
                      <a:pt x="982" y="85"/>
                      <a:pt x="987" y="87"/>
                      <a:pt x="993" y="87"/>
                    </a:cubicBezTo>
                    <a:cubicBezTo>
                      <a:pt x="1007" y="87"/>
                      <a:pt x="1015" y="74"/>
                      <a:pt x="1015" y="57"/>
                    </a:cubicBezTo>
                    <a:moveTo>
                      <a:pt x="999" y="57"/>
                    </a:moveTo>
                    <a:cubicBezTo>
                      <a:pt x="999" y="70"/>
                      <a:pt x="994" y="75"/>
                      <a:pt x="990" y="75"/>
                    </a:cubicBezTo>
                    <a:cubicBezTo>
                      <a:pt x="986" y="75"/>
                      <a:pt x="982" y="73"/>
                      <a:pt x="978" y="71"/>
                    </a:cubicBezTo>
                    <a:lnTo>
                      <a:pt x="978" y="45"/>
                    </a:lnTo>
                    <a:cubicBezTo>
                      <a:pt x="982" y="42"/>
                      <a:pt x="986" y="40"/>
                      <a:pt x="990" y="40"/>
                    </a:cubicBezTo>
                    <a:cubicBezTo>
                      <a:pt x="998" y="40"/>
                      <a:pt x="999" y="51"/>
                      <a:pt x="999" y="57"/>
                    </a:cubicBezTo>
                    <a:moveTo>
                      <a:pt x="1075" y="56"/>
                    </a:moveTo>
                    <a:cubicBezTo>
                      <a:pt x="1075" y="43"/>
                      <a:pt x="1070" y="28"/>
                      <a:pt x="1050" y="28"/>
                    </a:cubicBezTo>
                    <a:cubicBezTo>
                      <a:pt x="1033" y="28"/>
                      <a:pt x="1026" y="43"/>
                      <a:pt x="1026" y="58"/>
                    </a:cubicBezTo>
                    <a:cubicBezTo>
                      <a:pt x="1026" y="68"/>
                      <a:pt x="1029" y="87"/>
                      <a:pt x="1049" y="87"/>
                    </a:cubicBezTo>
                    <a:cubicBezTo>
                      <a:pt x="1058" y="88"/>
                      <a:pt x="1066" y="86"/>
                      <a:pt x="1074" y="81"/>
                    </a:cubicBezTo>
                    <a:lnTo>
                      <a:pt x="1073" y="70"/>
                    </a:lnTo>
                    <a:cubicBezTo>
                      <a:pt x="1067" y="73"/>
                      <a:pt x="1059" y="75"/>
                      <a:pt x="1052" y="76"/>
                    </a:cubicBezTo>
                    <a:cubicBezTo>
                      <a:pt x="1045" y="76"/>
                      <a:pt x="1042" y="71"/>
                      <a:pt x="1042" y="61"/>
                    </a:cubicBezTo>
                    <a:lnTo>
                      <a:pt x="1075" y="61"/>
                    </a:lnTo>
                    <a:cubicBezTo>
                      <a:pt x="1075" y="61"/>
                      <a:pt x="1075" y="57"/>
                      <a:pt x="1075" y="56"/>
                    </a:cubicBezTo>
                    <a:moveTo>
                      <a:pt x="1060" y="52"/>
                    </a:moveTo>
                    <a:lnTo>
                      <a:pt x="1042" y="52"/>
                    </a:lnTo>
                    <a:cubicBezTo>
                      <a:pt x="1042" y="47"/>
                      <a:pt x="1043" y="39"/>
                      <a:pt x="1050" y="39"/>
                    </a:cubicBezTo>
                    <a:cubicBezTo>
                      <a:pt x="1058" y="39"/>
                      <a:pt x="1060" y="47"/>
                      <a:pt x="1060" y="52"/>
                    </a:cubicBezTo>
                    <a:close/>
                    <a:moveTo>
                      <a:pt x="1138" y="86"/>
                    </a:moveTo>
                    <a:lnTo>
                      <a:pt x="1138" y="47"/>
                    </a:lnTo>
                    <a:cubicBezTo>
                      <a:pt x="1139" y="42"/>
                      <a:pt x="1138" y="38"/>
                      <a:pt x="1135" y="34"/>
                    </a:cubicBezTo>
                    <a:cubicBezTo>
                      <a:pt x="1132" y="30"/>
                      <a:pt x="1127" y="27"/>
                      <a:pt x="1121" y="28"/>
                    </a:cubicBezTo>
                    <a:cubicBezTo>
                      <a:pt x="1115" y="29"/>
                      <a:pt x="1108" y="32"/>
                      <a:pt x="1103" y="37"/>
                    </a:cubicBezTo>
                    <a:cubicBezTo>
                      <a:pt x="1103" y="34"/>
                      <a:pt x="1103" y="32"/>
                      <a:pt x="1102" y="29"/>
                    </a:cubicBezTo>
                    <a:lnTo>
                      <a:pt x="1088" y="29"/>
                    </a:lnTo>
                    <a:cubicBezTo>
                      <a:pt x="1088" y="29"/>
                      <a:pt x="1089" y="36"/>
                      <a:pt x="1089" y="43"/>
                    </a:cubicBezTo>
                    <a:lnTo>
                      <a:pt x="1089" y="86"/>
                    </a:lnTo>
                    <a:lnTo>
                      <a:pt x="1104" y="86"/>
                    </a:lnTo>
                    <a:lnTo>
                      <a:pt x="1104" y="48"/>
                    </a:lnTo>
                    <a:cubicBezTo>
                      <a:pt x="1107" y="44"/>
                      <a:pt x="1112" y="42"/>
                      <a:pt x="1116" y="41"/>
                    </a:cubicBezTo>
                    <a:cubicBezTo>
                      <a:pt x="1120" y="41"/>
                      <a:pt x="1123" y="42"/>
                      <a:pt x="1123" y="48"/>
                    </a:cubicBezTo>
                    <a:lnTo>
                      <a:pt x="1123" y="86"/>
                    </a:lnTo>
                    <a:lnTo>
                      <a:pt x="1138" y="86"/>
                    </a:lnTo>
                    <a:close/>
                    <a:moveTo>
                      <a:pt x="1170" y="79"/>
                    </a:moveTo>
                    <a:cubicBezTo>
                      <a:pt x="1170" y="74"/>
                      <a:pt x="1165" y="70"/>
                      <a:pt x="1160" y="70"/>
                    </a:cubicBezTo>
                    <a:cubicBezTo>
                      <a:pt x="1155" y="70"/>
                      <a:pt x="1151" y="74"/>
                      <a:pt x="1151" y="79"/>
                    </a:cubicBezTo>
                    <a:cubicBezTo>
                      <a:pt x="1151" y="84"/>
                      <a:pt x="1155" y="88"/>
                      <a:pt x="1160" y="88"/>
                    </a:cubicBezTo>
                    <a:cubicBezTo>
                      <a:pt x="1165" y="88"/>
                      <a:pt x="1170" y="84"/>
                      <a:pt x="1170" y="79"/>
                    </a:cubicBezTo>
                    <a:close/>
                  </a:path>
                </a:pathLst>
              </a:custGeom>
              <a:solidFill>
                <a:srgbClr val="57687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02123074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3" pos="4018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8EC754B7-4334-4A68-BC70-710E29649573}"/>
              </a:ext>
            </a:extLst>
          </p:cNvPr>
          <p:cNvCxnSpPr/>
          <p:nvPr/>
        </p:nvCxnSpPr>
        <p:spPr>
          <a:xfrm>
            <a:off x="0" y="545189"/>
            <a:ext cx="68616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23">
            <a:extLst>
              <a:ext uri="{FF2B5EF4-FFF2-40B4-BE49-F238E27FC236}">
                <a16:creationId xmlns:a16="http://schemas.microsoft.com/office/drawing/2014/main" id="{88CDD876-7350-490C-98E4-9DEF96154E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216" y="0"/>
            <a:ext cx="1104108" cy="73932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0DD8F362-B7F5-40B9-BF0E-23A69FD51E91}"/>
              </a:ext>
            </a:extLst>
          </p:cNvPr>
          <p:cNvGrpSpPr>
            <a:grpSpLocks noChangeAspect="1"/>
          </p:cNvGrpSpPr>
          <p:nvPr/>
        </p:nvGrpSpPr>
        <p:grpSpPr>
          <a:xfrm>
            <a:off x="5532169" y="171397"/>
            <a:ext cx="762535" cy="396942"/>
            <a:chOff x="5448195" y="170057"/>
            <a:chExt cx="762535" cy="396942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D471263A-11F1-4644-AF50-47FCA78B1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3735" y="246595"/>
              <a:ext cx="216995" cy="186868"/>
            </a:xfrm>
            <a:custGeom>
              <a:avLst/>
              <a:gdLst>
                <a:gd name="T0" fmla="*/ 0 w 333"/>
                <a:gd name="T1" fmla="*/ 0 h 287"/>
                <a:gd name="T2" fmla="*/ 0 w 333"/>
                <a:gd name="T3" fmla="*/ 162 h 287"/>
                <a:gd name="T4" fmla="*/ 167 w 333"/>
                <a:gd name="T5" fmla="*/ 224 h 287"/>
                <a:gd name="T6" fmla="*/ 235 w 333"/>
                <a:gd name="T7" fmla="*/ 255 h 287"/>
                <a:gd name="T8" fmla="*/ 333 w 333"/>
                <a:gd name="T9" fmla="*/ 162 h 287"/>
                <a:gd name="T10" fmla="*/ 333 w 333"/>
                <a:gd name="T11" fmla="*/ 0 h 287"/>
                <a:gd name="T12" fmla="*/ 274 w 333"/>
                <a:gd name="T13" fmla="*/ 0 h 287"/>
                <a:gd name="T14" fmla="*/ 274 w 333"/>
                <a:gd name="T15" fmla="*/ 163 h 287"/>
                <a:gd name="T16" fmla="*/ 196 w 333"/>
                <a:gd name="T17" fmla="*/ 163 h 287"/>
                <a:gd name="T18" fmla="*/ 196 w 333"/>
                <a:gd name="T19" fmla="*/ 0 h 287"/>
                <a:gd name="T20" fmla="*/ 137 w 333"/>
                <a:gd name="T21" fmla="*/ 0 h 287"/>
                <a:gd name="T22" fmla="*/ 137 w 333"/>
                <a:gd name="T23" fmla="*/ 163 h 287"/>
                <a:gd name="T24" fmla="*/ 98 w 333"/>
                <a:gd name="T25" fmla="*/ 201 h 287"/>
                <a:gd name="T26" fmla="*/ 59 w 333"/>
                <a:gd name="T27" fmla="*/ 163 h 287"/>
                <a:gd name="T28" fmla="*/ 59 w 333"/>
                <a:gd name="T29" fmla="*/ 0 h 287"/>
                <a:gd name="T30" fmla="*/ 0 w 333"/>
                <a:gd name="T31" fmla="*/ 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3" h="287">
                  <a:moveTo>
                    <a:pt x="0" y="0"/>
                  </a:moveTo>
                  <a:lnTo>
                    <a:pt x="0" y="162"/>
                  </a:lnTo>
                  <a:cubicBezTo>
                    <a:pt x="3" y="248"/>
                    <a:pt x="108" y="287"/>
                    <a:pt x="167" y="224"/>
                  </a:cubicBezTo>
                  <a:cubicBezTo>
                    <a:pt x="184" y="244"/>
                    <a:pt x="209" y="255"/>
                    <a:pt x="235" y="255"/>
                  </a:cubicBezTo>
                  <a:cubicBezTo>
                    <a:pt x="287" y="256"/>
                    <a:pt x="331" y="215"/>
                    <a:pt x="333" y="162"/>
                  </a:cubicBezTo>
                  <a:lnTo>
                    <a:pt x="333" y="0"/>
                  </a:lnTo>
                  <a:lnTo>
                    <a:pt x="274" y="0"/>
                  </a:lnTo>
                  <a:lnTo>
                    <a:pt x="274" y="163"/>
                  </a:lnTo>
                  <a:cubicBezTo>
                    <a:pt x="272" y="213"/>
                    <a:pt x="198" y="213"/>
                    <a:pt x="196" y="163"/>
                  </a:cubicBezTo>
                  <a:lnTo>
                    <a:pt x="196" y="0"/>
                  </a:lnTo>
                  <a:lnTo>
                    <a:pt x="137" y="0"/>
                  </a:lnTo>
                  <a:lnTo>
                    <a:pt x="137" y="163"/>
                  </a:lnTo>
                  <a:cubicBezTo>
                    <a:pt x="137" y="184"/>
                    <a:pt x="119" y="201"/>
                    <a:pt x="98" y="201"/>
                  </a:cubicBezTo>
                  <a:cubicBezTo>
                    <a:pt x="77" y="201"/>
                    <a:pt x="60" y="184"/>
                    <a:pt x="59" y="163"/>
                  </a:cubicBezTo>
                  <a:lnTo>
                    <a:pt x="5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33146AE-16A5-469D-9E6A-A41190A01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4425" y="236011"/>
              <a:ext cx="176283" cy="183204"/>
            </a:xfrm>
            <a:custGeom>
              <a:avLst/>
              <a:gdLst>
                <a:gd name="T0" fmla="*/ 269 w 271"/>
                <a:gd name="T1" fmla="*/ 157 h 281"/>
                <a:gd name="T2" fmla="*/ 271 w 271"/>
                <a:gd name="T3" fmla="*/ 137 h 281"/>
                <a:gd name="T4" fmla="*/ 153 w 271"/>
                <a:gd name="T5" fmla="*/ 7 h 281"/>
                <a:gd name="T6" fmla="*/ 12 w 271"/>
                <a:gd name="T7" fmla="*/ 113 h 281"/>
                <a:gd name="T8" fmla="*/ 104 w 271"/>
                <a:gd name="T9" fmla="*/ 263 h 281"/>
                <a:gd name="T10" fmla="*/ 262 w 271"/>
                <a:gd name="T11" fmla="*/ 184 h 281"/>
                <a:gd name="T12" fmla="*/ 201 w 271"/>
                <a:gd name="T13" fmla="*/ 184 h 281"/>
                <a:gd name="T14" fmla="*/ 64 w 271"/>
                <a:gd name="T15" fmla="*/ 130 h 281"/>
                <a:gd name="T16" fmla="*/ 209 w 271"/>
                <a:gd name="T17" fmla="*/ 103 h 281"/>
                <a:gd name="T18" fmla="*/ 116 w 271"/>
                <a:gd name="T19" fmla="*/ 103 h 281"/>
                <a:gd name="T20" fmla="*/ 116 w 271"/>
                <a:gd name="T21" fmla="*/ 157 h 281"/>
                <a:gd name="T22" fmla="*/ 269 w 271"/>
                <a:gd name="T23" fmla="*/ 157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281">
                  <a:moveTo>
                    <a:pt x="269" y="157"/>
                  </a:moveTo>
                  <a:cubicBezTo>
                    <a:pt x="271" y="150"/>
                    <a:pt x="271" y="144"/>
                    <a:pt x="271" y="137"/>
                  </a:cubicBezTo>
                  <a:cubicBezTo>
                    <a:pt x="271" y="70"/>
                    <a:pt x="220" y="13"/>
                    <a:pt x="153" y="7"/>
                  </a:cubicBezTo>
                  <a:cubicBezTo>
                    <a:pt x="86" y="0"/>
                    <a:pt x="25" y="46"/>
                    <a:pt x="12" y="113"/>
                  </a:cubicBezTo>
                  <a:cubicBezTo>
                    <a:pt x="0" y="179"/>
                    <a:pt x="39" y="244"/>
                    <a:pt x="104" y="263"/>
                  </a:cubicBezTo>
                  <a:cubicBezTo>
                    <a:pt x="169" y="281"/>
                    <a:pt x="238" y="247"/>
                    <a:pt x="262" y="184"/>
                  </a:cubicBezTo>
                  <a:lnTo>
                    <a:pt x="201" y="184"/>
                  </a:lnTo>
                  <a:cubicBezTo>
                    <a:pt x="154" y="245"/>
                    <a:pt x="57" y="206"/>
                    <a:pt x="64" y="130"/>
                  </a:cubicBezTo>
                  <a:cubicBezTo>
                    <a:pt x="72" y="53"/>
                    <a:pt x="175" y="34"/>
                    <a:pt x="209" y="103"/>
                  </a:cubicBezTo>
                  <a:lnTo>
                    <a:pt x="116" y="103"/>
                  </a:lnTo>
                  <a:lnTo>
                    <a:pt x="116" y="157"/>
                  </a:lnTo>
                  <a:lnTo>
                    <a:pt x="269" y="157"/>
                  </a:lnTo>
                  <a:close/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4B4F92BC-2D37-43B3-9339-8FD0E78B05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8142" y="170057"/>
              <a:ext cx="170176" cy="242643"/>
            </a:xfrm>
            <a:custGeom>
              <a:avLst/>
              <a:gdLst>
                <a:gd name="T0" fmla="*/ 148 w 261"/>
                <a:gd name="T1" fmla="*/ 316 h 372"/>
                <a:gd name="T2" fmla="*/ 130 w 261"/>
                <a:gd name="T3" fmla="*/ 318 h 372"/>
                <a:gd name="T4" fmla="*/ 101 w 261"/>
                <a:gd name="T5" fmla="*/ 312 h 372"/>
                <a:gd name="T6" fmla="*/ 136 w 261"/>
                <a:gd name="T7" fmla="*/ 164 h 372"/>
                <a:gd name="T8" fmla="*/ 148 w 261"/>
                <a:gd name="T9" fmla="*/ 316 h 372"/>
                <a:gd name="T10" fmla="*/ 205 w 261"/>
                <a:gd name="T11" fmla="*/ 0 h 372"/>
                <a:gd name="T12" fmla="*/ 205 w 261"/>
                <a:gd name="T13" fmla="*/ 138 h 372"/>
                <a:gd name="T14" fmla="*/ 130 w 261"/>
                <a:gd name="T15" fmla="*/ 113 h 372"/>
                <a:gd name="T16" fmla="*/ 0 w 261"/>
                <a:gd name="T17" fmla="*/ 242 h 372"/>
                <a:gd name="T18" fmla="*/ 130 w 261"/>
                <a:gd name="T19" fmla="*/ 372 h 372"/>
                <a:gd name="T20" fmla="*/ 205 w 261"/>
                <a:gd name="T21" fmla="*/ 347 h 372"/>
                <a:gd name="T22" fmla="*/ 205 w 261"/>
                <a:gd name="T23" fmla="*/ 369 h 372"/>
                <a:gd name="T24" fmla="*/ 261 w 261"/>
                <a:gd name="T25" fmla="*/ 369 h 372"/>
                <a:gd name="T26" fmla="*/ 261 w 261"/>
                <a:gd name="T27" fmla="*/ 0 h 372"/>
                <a:gd name="T28" fmla="*/ 205 w 261"/>
                <a:gd name="T29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1" h="372">
                  <a:moveTo>
                    <a:pt x="148" y="316"/>
                  </a:moveTo>
                  <a:cubicBezTo>
                    <a:pt x="142" y="318"/>
                    <a:pt x="136" y="318"/>
                    <a:pt x="130" y="318"/>
                  </a:cubicBezTo>
                  <a:cubicBezTo>
                    <a:pt x="120" y="318"/>
                    <a:pt x="110" y="316"/>
                    <a:pt x="101" y="312"/>
                  </a:cubicBezTo>
                  <a:cubicBezTo>
                    <a:pt x="20" y="279"/>
                    <a:pt x="49" y="157"/>
                    <a:pt x="136" y="164"/>
                  </a:cubicBezTo>
                  <a:cubicBezTo>
                    <a:pt x="224" y="171"/>
                    <a:pt x="234" y="296"/>
                    <a:pt x="148" y="316"/>
                  </a:cubicBezTo>
                  <a:moveTo>
                    <a:pt x="205" y="0"/>
                  </a:moveTo>
                  <a:lnTo>
                    <a:pt x="205" y="138"/>
                  </a:lnTo>
                  <a:cubicBezTo>
                    <a:pt x="184" y="122"/>
                    <a:pt x="157" y="113"/>
                    <a:pt x="130" y="113"/>
                  </a:cubicBezTo>
                  <a:cubicBezTo>
                    <a:pt x="59" y="113"/>
                    <a:pt x="0" y="171"/>
                    <a:pt x="0" y="242"/>
                  </a:cubicBezTo>
                  <a:cubicBezTo>
                    <a:pt x="0" y="314"/>
                    <a:pt x="59" y="372"/>
                    <a:pt x="130" y="372"/>
                  </a:cubicBezTo>
                  <a:cubicBezTo>
                    <a:pt x="157" y="372"/>
                    <a:pt x="184" y="363"/>
                    <a:pt x="205" y="347"/>
                  </a:cubicBezTo>
                  <a:lnTo>
                    <a:pt x="205" y="369"/>
                  </a:lnTo>
                  <a:lnTo>
                    <a:pt x="261" y="369"/>
                  </a:lnTo>
                  <a:lnTo>
                    <a:pt x="261" y="0"/>
                  </a:lnTo>
                  <a:lnTo>
                    <a:pt x="205" y="0"/>
                  </a:lnTo>
                  <a:close/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4B1BB407-606B-4626-A1E8-829143E322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48195" y="170057"/>
              <a:ext cx="170176" cy="242643"/>
            </a:xfrm>
            <a:custGeom>
              <a:avLst/>
              <a:gdLst>
                <a:gd name="T0" fmla="*/ 160 w 261"/>
                <a:gd name="T1" fmla="*/ 312 h 372"/>
                <a:gd name="T2" fmla="*/ 131 w 261"/>
                <a:gd name="T3" fmla="*/ 319 h 372"/>
                <a:gd name="T4" fmla="*/ 114 w 261"/>
                <a:gd name="T5" fmla="*/ 316 h 372"/>
                <a:gd name="T6" fmla="*/ 125 w 261"/>
                <a:gd name="T7" fmla="*/ 165 h 372"/>
                <a:gd name="T8" fmla="*/ 160 w 261"/>
                <a:gd name="T9" fmla="*/ 312 h 372"/>
                <a:gd name="T10" fmla="*/ 131 w 261"/>
                <a:gd name="T11" fmla="*/ 113 h 372"/>
                <a:gd name="T12" fmla="*/ 56 w 261"/>
                <a:gd name="T13" fmla="*/ 138 h 372"/>
                <a:gd name="T14" fmla="*/ 56 w 261"/>
                <a:gd name="T15" fmla="*/ 0 h 372"/>
                <a:gd name="T16" fmla="*/ 0 w 261"/>
                <a:gd name="T17" fmla="*/ 0 h 372"/>
                <a:gd name="T18" fmla="*/ 0 w 261"/>
                <a:gd name="T19" fmla="*/ 369 h 372"/>
                <a:gd name="T20" fmla="*/ 56 w 261"/>
                <a:gd name="T21" fmla="*/ 369 h 372"/>
                <a:gd name="T22" fmla="*/ 56 w 261"/>
                <a:gd name="T23" fmla="*/ 347 h 372"/>
                <a:gd name="T24" fmla="*/ 131 w 261"/>
                <a:gd name="T25" fmla="*/ 372 h 372"/>
                <a:gd name="T26" fmla="*/ 261 w 261"/>
                <a:gd name="T27" fmla="*/ 242 h 372"/>
                <a:gd name="T28" fmla="*/ 131 w 261"/>
                <a:gd name="T29" fmla="*/ 113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1" h="372">
                  <a:moveTo>
                    <a:pt x="160" y="312"/>
                  </a:moveTo>
                  <a:cubicBezTo>
                    <a:pt x="151" y="316"/>
                    <a:pt x="141" y="319"/>
                    <a:pt x="131" y="319"/>
                  </a:cubicBezTo>
                  <a:cubicBezTo>
                    <a:pt x="125" y="318"/>
                    <a:pt x="119" y="318"/>
                    <a:pt x="114" y="316"/>
                  </a:cubicBezTo>
                  <a:cubicBezTo>
                    <a:pt x="28" y="296"/>
                    <a:pt x="38" y="172"/>
                    <a:pt x="125" y="165"/>
                  </a:cubicBezTo>
                  <a:cubicBezTo>
                    <a:pt x="212" y="158"/>
                    <a:pt x="241" y="279"/>
                    <a:pt x="160" y="312"/>
                  </a:cubicBezTo>
                  <a:close/>
                  <a:moveTo>
                    <a:pt x="131" y="113"/>
                  </a:moveTo>
                  <a:cubicBezTo>
                    <a:pt x="104" y="113"/>
                    <a:pt x="78" y="122"/>
                    <a:pt x="56" y="138"/>
                  </a:cubicBezTo>
                  <a:lnTo>
                    <a:pt x="56" y="0"/>
                  </a:lnTo>
                  <a:lnTo>
                    <a:pt x="0" y="0"/>
                  </a:lnTo>
                  <a:lnTo>
                    <a:pt x="0" y="369"/>
                  </a:lnTo>
                  <a:lnTo>
                    <a:pt x="56" y="369"/>
                  </a:lnTo>
                  <a:lnTo>
                    <a:pt x="56" y="347"/>
                  </a:lnTo>
                  <a:cubicBezTo>
                    <a:pt x="78" y="363"/>
                    <a:pt x="104" y="372"/>
                    <a:pt x="131" y="372"/>
                  </a:cubicBezTo>
                  <a:cubicBezTo>
                    <a:pt x="203" y="372"/>
                    <a:pt x="261" y="314"/>
                    <a:pt x="261" y="242"/>
                  </a:cubicBezTo>
                  <a:cubicBezTo>
                    <a:pt x="261" y="171"/>
                    <a:pt x="203" y="113"/>
                    <a:pt x="131" y="113"/>
                  </a:cubicBezTo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B5E54D74-7BCA-42D1-8C50-5339B9158A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48195" y="495346"/>
              <a:ext cx="762535" cy="71653"/>
            </a:xfrm>
            <a:custGeom>
              <a:avLst/>
              <a:gdLst>
                <a:gd name="T0" fmla="*/ 43 w 1170"/>
                <a:gd name="T1" fmla="*/ 53 h 110"/>
                <a:gd name="T2" fmla="*/ 48 w 1170"/>
                <a:gd name="T3" fmla="*/ 9 h 110"/>
                <a:gd name="T4" fmla="*/ 111 w 1170"/>
                <a:gd name="T5" fmla="*/ 47 h 110"/>
                <a:gd name="T6" fmla="*/ 61 w 1170"/>
                <a:gd name="T7" fmla="*/ 29 h 110"/>
                <a:gd name="T8" fmla="*/ 89 w 1170"/>
                <a:gd name="T9" fmla="*/ 41 h 110"/>
                <a:gd name="T10" fmla="*/ 149 w 1170"/>
                <a:gd name="T11" fmla="*/ 28 h 110"/>
                <a:gd name="T12" fmla="*/ 150 w 1170"/>
                <a:gd name="T13" fmla="*/ 75 h 110"/>
                <a:gd name="T14" fmla="*/ 140 w 1170"/>
                <a:gd name="T15" fmla="*/ 52 h 110"/>
                <a:gd name="T16" fmla="*/ 203 w 1170"/>
                <a:gd name="T17" fmla="*/ 35 h 110"/>
                <a:gd name="T18" fmla="*/ 187 w 1170"/>
                <a:gd name="T19" fmla="*/ 86 h 110"/>
                <a:gd name="T20" fmla="*/ 220 w 1170"/>
                <a:gd name="T21" fmla="*/ 29 h 110"/>
                <a:gd name="T22" fmla="*/ 229 w 1170"/>
                <a:gd name="T23" fmla="*/ 57 h 110"/>
                <a:gd name="T24" fmla="*/ 264 w 1170"/>
                <a:gd name="T25" fmla="*/ 91 h 110"/>
                <a:gd name="T26" fmla="*/ 279 w 1170"/>
                <a:gd name="T27" fmla="*/ 94 h 110"/>
                <a:gd name="T28" fmla="*/ 253 w 1170"/>
                <a:gd name="T29" fmla="*/ 73 h 110"/>
                <a:gd name="T30" fmla="*/ 312 w 1170"/>
                <a:gd name="T31" fmla="*/ 10 h 110"/>
                <a:gd name="T32" fmla="*/ 310 w 1170"/>
                <a:gd name="T33" fmla="*/ 41 h 110"/>
                <a:gd name="T34" fmla="*/ 372 w 1170"/>
                <a:gd name="T35" fmla="*/ 56 h 110"/>
                <a:gd name="T36" fmla="*/ 371 w 1170"/>
                <a:gd name="T37" fmla="*/ 69 h 110"/>
                <a:gd name="T38" fmla="*/ 357 w 1170"/>
                <a:gd name="T39" fmla="*/ 52 h 110"/>
                <a:gd name="T40" fmla="*/ 384 w 1170"/>
                <a:gd name="T41" fmla="*/ 79 h 110"/>
                <a:gd name="T42" fmla="*/ 500 w 1170"/>
                <a:gd name="T43" fmla="*/ 46 h 110"/>
                <a:gd name="T44" fmla="*/ 460 w 1170"/>
                <a:gd name="T45" fmla="*/ 46 h 110"/>
                <a:gd name="T46" fmla="*/ 448 w 1170"/>
                <a:gd name="T47" fmla="*/ 86 h 110"/>
                <a:gd name="T48" fmla="*/ 488 w 1170"/>
                <a:gd name="T49" fmla="*/ 86 h 110"/>
                <a:gd name="T50" fmla="*/ 577 w 1170"/>
                <a:gd name="T51" fmla="*/ 47 h 110"/>
                <a:gd name="T52" fmla="*/ 556 w 1170"/>
                <a:gd name="T53" fmla="*/ 40 h 110"/>
                <a:gd name="T54" fmla="*/ 548 w 1170"/>
                <a:gd name="T55" fmla="*/ 87 h 110"/>
                <a:gd name="T56" fmla="*/ 552 w 1170"/>
                <a:gd name="T57" fmla="*/ 76 h 110"/>
                <a:gd name="T58" fmla="*/ 632 w 1170"/>
                <a:gd name="T59" fmla="*/ 69 h 110"/>
                <a:gd name="T60" fmla="*/ 629 w 1170"/>
                <a:gd name="T61" fmla="*/ 31 h 110"/>
                <a:gd name="T62" fmla="*/ 611 w 1170"/>
                <a:gd name="T63" fmla="*/ 75 h 110"/>
                <a:gd name="T64" fmla="*/ 684 w 1170"/>
                <a:gd name="T65" fmla="*/ 69 h 110"/>
                <a:gd name="T66" fmla="*/ 680 w 1170"/>
                <a:gd name="T67" fmla="*/ 31 h 110"/>
                <a:gd name="T68" fmla="*/ 663 w 1170"/>
                <a:gd name="T69" fmla="*/ 75 h 110"/>
                <a:gd name="T70" fmla="*/ 743 w 1170"/>
                <a:gd name="T71" fmla="*/ 56 h 110"/>
                <a:gd name="T72" fmla="*/ 741 w 1170"/>
                <a:gd name="T73" fmla="*/ 70 h 110"/>
                <a:gd name="T74" fmla="*/ 727 w 1170"/>
                <a:gd name="T75" fmla="*/ 52 h 110"/>
                <a:gd name="T76" fmla="*/ 783 w 1170"/>
                <a:gd name="T77" fmla="*/ 28 h 110"/>
                <a:gd name="T78" fmla="*/ 756 w 1170"/>
                <a:gd name="T79" fmla="*/ 43 h 110"/>
                <a:gd name="T80" fmla="*/ 789 w 1170"/>
                <a:gd name="T81" fmla="*/ 41 h 110"/>
                <a:gd name="T82" fmla="*/ 805 w 1170"/>
                <a:gd name="T83" fmla="*/ 79 h 110"/>
                <a:gd name="T84" fmla="*/ 843 w 1170"/>
                <a:gd name="T85" fmla="*/ 9 h 110"/>
                <a:gd name="T86" fmla="*/ 900 w 1170"/>
                <a:gd name="T87" fmla="*/ 58 h 110"/>
                <a:gd name="T88" fmla="*/ 916 w 1170"/>
                <a:gd name="T89" fmla="*/ 61 h 110"/>
                <a:gd name="T90" fmla="*/ 924 w 1170"/>
                <a:gd name="T91" fmla="*/ 39 h 110"/>
                <a:gd name="T92" fmla="*/ 978 w 1170"/>
                <a:gd name="T93" fmla="*/ 28 h 110"/>
                <a:gd name="T94" fmla="*/ 977 w 1170"/>
                <a:gd name="T95" fmla="*/ 86 h 110"/>
                <a:gd name="T96" fmla="*/ 990 w 1170"/>
                <a:gd name="T97" fmla="*/ 75 h 110"/>
                <a:gd name="T98" fmla="*/ 1075 w 1170"/>
                <a:gd name="T99" fmla="*/ 56 h 110"/>
                <a:gd name="T100" fmla="*/ 1073 w 1170"/>
                <a:gd name="T101" fmla="*/ 70 h 110"/>
                <a:gd name="T102" fmla="*/ 1060 w 1170"/>
                <a:gd name="T103" fmla="*/ 52 h 110"/>
                <a:gd name="T104" fmla="*/ 1138 w 1170"/>
                <a:gd name="T105" fmla="*/ 47 h 110"/>
                <a:gd name="T106" fmla="*/ 1088 w 1170"/>
                <a:gd name="T107" fmla="*/ 29 h 110"/>
                <a:gd name="T108" fmla="*/ 1116 w 1170"/>
                <a:gd name="T109" fmla="*/ 41 h 110"/>
                <a:gd name="T110" fmla="*/ 1160 w 1170"/>
                <a:gd name="T111" fmla="*/ 7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0" h="110">
                  <a:moveTo>
                    <a:pt x="49" y="86"/>
                  </a:moveTo>
                  <a:lnTo>
                    <a:pt x="49" y="72"/>
                  </a:lnTo>
                  <a:lnTo>
                    <a:pt x="16" y="72"/>
                  </a:lnTo>
                  <a:lnTo>
                    <a:pt x="16" y="53"/>
                  </a:lnTo>
                  <a:lnTo>
                    <a:pt x="43" y="53"/>
                  </a:lnTo>
                  <a:lnTo>
                    <a:pt x="43" y="39"/>
                  </a:lnTo>
                  <a:lnTo>
                    <a:pt x="16" y="39"/>
                  </a:lnTo>
                  <a:lnTo>
                    <a:pt x="16" y="22"/>
                  </a:lnTo>
                  <a:lnTo>
                    <a:pt x="47" y="22"/>
                  </a:lnTo>
                  <a:lnTo>
                    <a:pt x="48" y="9"/>
                  </a:lnTo>
                  <a:lnTo>
                    <a:pt x="0" y="9"/>
                  </a:lnTo>
                  <a:lnTo>
                    <a:pt x="0" y="86"/>
                  </a:lnTo>
                  <a:lnTo>
                    <a:pt x="49" y="86"/>
                  </a:lnTo>
                  <a:close/>
                  <a:moveTo>
                    <a:pt x="111" y="86"/>
                  </a:moveTo>
                  <a:lnTo>
                    <a:pt x="111" y="47"/>
                  </a:lnTo>
                  <a:cubicBezTo>
                    <a:pt x="111" y="42"/>
                    <a:pt x="110" y="38"/>
                    <a:pt x="108" y="34"/>
                  </a:cubicBezTo>
                  <a:cubicBezTo>
                    <a:pt x="105" y="30"/>
                    <a:pt x="100" y="27"/>
                    <a:pt x="94" y="28"/>
                  </a:cubicBezTo>
                  <a:cubicBezTo>
                    <a:pt x="88" y="29"/>
                    <a:pt x="81" y="32"/>
                    <a:pt x="76" y="37"/>
                  </a:cubicBezTo>
                  <a:cubicBezTo>
                    <a:pt x="76" y="34"/>
                    <a:pt x="76" y="32"/>
                    <a:pt x="75" y="29"/>
                  </a:cubicBezTo>
                  <a:lnTo>
                    <a:pt x="61" y="29"/>
                  </a:lnTo>
                  <a:cubicBezTo>
                    <a:pt x="61" y="29"/>
                    <a:pt x="62" y="36"/>
                    <a:pt x="62" y="43"/>
                  </a:cubicBezTo>
                  <a:lnTo>
                    <a:pt x="62" y="86"/>
                  </a:lnTo>
                  <a:lnTo>
                    <a:pt x="77" y="86"/>
                  </a:lnTo>
                  <a:lnTo>
                    <a:pt x="77" y="47"/>
                  </a:lnTo>
                  <a:cubicBezTo>
                    <a:pt x="80" y="44"/>
                    <a:pt x="84" y="42"/>
                    <a:pt x="89" y="41"/>
                  </a:cubicBezTo>
                  <a:cubicBezTo>
                    <a:pt x="93" y="41"/>
                    <a:pt x="96" y="42"/>
                    <a:pt x="96" y="48"/>
                  </a:cubicBezTo>
                  <a:lnTo>
                    <a:pt x="96" y="86"/>
                  </a:lnTo>
                  <a:lnTo>
                    <a:pt x="111" y="86"/>
                  </a:lnTo>
                  <a:close/>
                  <a:moveTo>
                    <a:pt x="173" y="56"/>
                  </a:moveTo>
                  <a:cubicBezTo>
                    <a:pt x="173" y="43"/>
                    <a:pt x="168" y="28"/>
                    <a:pt x="149" y="28"/>
                  </a:cubicBezTo>
                  <a:cubicBezTo>
                    <a:pt x="132" y="28"/>
                    <a:pt x="124" y="42"/>
                    <a:pt x="124" y="58"/>
                  </a:cubicBezTo>
                  <a:cubicBezTo>
                    <a:pt x="124" y="68"/>
                    <a:pt x="127" y="87"/>
                    <a:pt x="148" y="87"/>
                  </a:cubicBezTo>
                  <a:cubicBezTo>
                    <a:pt x="156" y="87"/>
                    <a:pt x="165" y="85"/>
                    <a:pt x="172" y="81"/>
                  </a:cubicBezTo>
                  <a:lnTo>
                    <a:pt x="172" y="70"/>
                  </a:lnTo>
                  <a:cubicBezTo>
                    <a:pt x="165" y="73"/>
                    <a:pt x="158" y="75"/>
                    <a:pt x="150" y="75"/>
                  </a:cubicBezTo>
                  <a:cubicBezTo>
                    <a:pt x="144" y="75"/>
                    <a:pt x="140" y="71"/>
                    <a:pt x="140" y="61"/>
                  </a:cubicBezTo>
                  <a:lnTo>
                    <a:pt x="173" y="61"/>
                  </a:lnTo>
                  <a:cubicBezTo>
                    <a:pt x="173" y="61"/>
                    <a:pt x="173" y="57"/>
                    <a:pt x="173" y="56"/>
                  </a:cubicBezTo>
                  <a:moveTo>
                    <a:pt x="158" y="52"/>
                  </a:moveTo>
                  <a:lnTo>
                    <a:pt x="140" y="52"/>
                  </a:lnTo>
                  <a:cubicBezTo>
                    <a:pt x="140" y="47"/>
                    <a:pt x="142" y="39"/>
                    <a:pt x="149" y="39"/>
                  </a:cubicBezTo>
                  <a:cubicBezTo>
                    <a:pt x="157" y="39"/>
                    <a:pt x="158" y="47"/>
                    <a:pt x="158" y="52"/>
                  </a:cubicBezTo>
                  <a:moveTo>
                    <a:pt x="220" y="29"/>
                  </a:moveTo>
                  <a:cubicBezTo>
                    <a:pt x="220" y="29"/>
                    <a:pt x="220" y="28"/>
                    <a:pt x="214" y="28"/>
                  </a:cubicBezTo>
                  <a:cubicBezTo>
                    <a:pt x="209" y="29"/>
                    <a:pt x="205" y="31"/>
                    <a:pt x="203" y="35"/>
                  </a:cubicBezTo>
                  <a:cubicBezTo>
                    <a:pt x="202" y="35"/>
                    <a:pt x="202" y="35"/>
                    <a:pt x="202" y="36"/>
                  </a:cubicBezTo>
                  <a:cubicBezTo>
                    <a:pt x="202" y="33"/>
                    <a:pt x="201" y="31"/>
                    <a:pt x="201" y="29"/>
                  </a:cubicBezTo>
                  <a:lnTo>
                    <a:pt x="186" y="29"/>
                  </a:lnTo>
                  <a:cubicBezTo>
                    <a:pt x="187" y="34"/>
                    <a:pt x="187" y="38"/>
                    <a:pt x="187" y="43"/>
                  </a:cubicBezTo>
                  <a:lnTo>
                    <a:pt x="187" y="86"/>
                  </a:lnTo>
                  <a:lnTo>
                    <a:pt x="202" y="86"/>
                  </a:lnTo>
                  <a:lnTo>
                    <a:pt x="202" y="46"/>
                  </a:lnTo>
                  <a:cubicBezTo>
                    <a:pt x="205" y="43"/>
                    <a:pt x="208" y="41"/>
                    <a:pt x="212" y="41"/>
                  </a:cubicBezTo>
                  <a:cubicBezTo>
                    <a:pt x="214" y="41"/>
                    <a:pt x="217" y="41"/>
                    <a:pt x="219" y="41"/>
                  </a:cubicBezTo>
                  <a:lnTo>
                    <a:pt x="220" y="29"/>
                  </a:lnTo>
                  <a:close/>
                  <a:moveTo>
                    <a:pt x="281" y="29"/>
                  </a:moveTo>
                  <a:lnTo>
                    <a:pt x="266" y="29"/>
                  </a:lnTo>
                  <a:cubicBezTo>
                    <a:pt x="266" y="30"/>
                    <a:pt x="266" y="31"/>
                    <a:pt x="266" y="33"/>
                  </a:cubicBezTo>
                  <a:cubicBezTo>
                    <a:pt x="262" y="30"/>
                    <a:pt x="257" y="28"/>
                    <a:pt x="252" y="28"/>
                  </a:cubicBezTo>
                  <a:cubicBezTo>
                    <a:pt x="236" y="28"/>
                    <a:pt x="229" y="40"/>
                    <a:pt x="229" y="57"/>
                  </a:cubicBezTo>
                  <a:cubicBezTo>
                    <a:pt x="229" y="68"/>
                    <a:pt x="232" y="86"/>
                    <a:pt x="249" y="86"/>
                  </a:cubicBezTo>
                  <a:cubicBezTo>
                    <a:pt x="255" y="86"/>
                    <a:pt x="261" y="83"/>
                    <a:pt x="265" y="78"/>
                  </a:cubicBezTo>
                  <a:cubicBezTo>
                    <a:pt x="265" y="78"/>
                    <a:pt x="265" y="82"/>
                    <a:pt x="265" y="83"/>
                  </a:cubicBezTo>
                  <a:lnTo>
                    <a:pt x="265" y="87"/>
                  </a:lnTo>
                  <a:cubicBezTo>
                    <a:pt x="265" y="88"/>
                    <a:pt x="264" y="90"/>
                    <a:pt x="264" y="91"/>
                  </a:cubicBezTo>
                  <a:cubicBezTo>
                    <a:pt x="263" y="95"/>
                    <a:pt x="260" y="97"/>
                    <a:pt x="254" y="97"/>
                  </a:cubicBezTo>
                  <a:cubicBezTo>
                    <a:pt x="246" y="97"/>
                    <a:pt x="239" y="95"/>
                    <a:pt x="232" y="92"/>
                  </a:cubicBezTo>
                  <a:lnTo>
                    <a:pt x="231" y="106"/>
                  </a:lnTo>
                  <a:cubicBezTo>
                    <a:pt x="238" y="109"/>
                    <a:pt x="246" y="110"/>
                    <a:pt x="254" y="110"/>
                  </a:cubicBezTo>
                  <a:cubicBezTo>
                    <a:pt x="268" y="110"/>
                    <a:pt x="277" y="105"/>
                    <a:pt x="279" y="94"/>
                  </a:cubicBezTo>
                  <a:cubicBezTo>
                    <a:pt x="280" y="91"/>
                    <a:pt x="280" y="88"/>
                    <a:pt x="280" y="85"/>
                  </a:cubicBezTo>
                  <a:lnTo>
                    <a:pt x="280" y="43"/>
                  </a:lnTo>
                  <a:cubicBezTo>
                    <a:pt x="280" y="36"/>
                    <a:pt x="281" y="29"/>
                    <a:pt x="281" y="29"/>
                  </a:cubicBezTo>
                  <a:moveTo>
                    <a:pt x="265" y="67"/>
                  </a:moveTo>
                  <a:cubicBezTo>
                    <a:pt x="262" y="71"/>
                    <a:pt x="258" y="73"/>
                    <a:pt x="253" y="73"/>
                  </a:cubicBezTo>
                  <a:cubicBezTo>
                    <a:pt x="246" y="73"/>
                    <a:pt x="244" y="63"/>
                    <a:pt x="244" y="57"/>
                  </a:cubicBezTo>
                  <a:cubicBezTo>
                    <a:pt x="244" y="51"/>
                    <a:pt x="245" y="40"/>
                    <a:pt x="254" y="40"/>
                  </a:cubicBezTo>
                  <a:cubicBezTo>
                    <a:pt x="258" y="40"/>
                    <a:pt x="261" y="41"/>
                    <a:pt x="265" y="43"/>
                  </a:cubicBezTo>
                  <a:lnTo>
                    <a:pt x="265" y="67"/>
                  </a:lnTo>
                  <a:close/>
                  <a:moveTo>
                    <a:pt x="312" y="10"/>
                  </a:moveTo>
                  <a:cubicBezTo>
                    <a:pt x="312" y="5"/>
                    <a:pt x="308" y="0"/>
                    <a:pt x="302" y="0"/>
                  </a:cubicBezTo>
                  <a:cubicBezTo>
                    <a:pt x="290" y="0"/>
                    <a:pt x="290" y="19"/>
                    <a:pt x="302" y="19"/>
                  </a:cubicBezTo>
                  <a:cubicBezTo>
                    <a:pt x="307" y="19"/>
                    <a:pt x="312" y="15"/>
                    <a:pt x="312" y="10"/>
                  </a:cubicBezTo>
                  <a:close/>
                  <a:moveTo>
                    <a:pt x="310" y="86"/>
                  </a:moveTo>
                  <a:lnTo>
                    <a:pt x="310" y="41"/>
                  </a:lnTo>
                  <a:cubicBezTo>
                    <a:pt x="310" y="37"/>
                    <a:pt x="310" y="33"/>
                    <a:pt x="309" y="29"/>
                  </a:cubicBezTo>
                  <a:lnTo>
                    <a:pt x="295" y="29"/>
                  </a:lnTo>
                  <a:lnTo>
                    <a:pt x="295" y="86"/>
                  </a:lnTo>
                  <a:lnTo>
                    <a:pt x="310" y="86"/>
                  </a:lnTo>
                  <a:close/>
                  <a:moveTo>
                    <a:pt x="372" y="56"/>
                  </a:moveTo>
                  <a:cubicBezTo>
                    <a:pt x="372" y="43"/>
                    <a:pt x="367" y="28"/>
                    <a:pt x="348" y="28"/>
                  </a:cubicBezTo>
                  <a:cubicBezTo>
                    <a:pt x="331" y="28"/>
                    <a:pt x="323" y="42"/>
                    <a:pt x="323" y="58"/>
                  </a:cubicBezTo>
                  <a:cubicBezTo>
                    <a:pt x="323" y="68"/>
                    <a:pt x="326" y="87"/>
                    <a:pt x="347" y="87"/>
                  </a:cubicBezTo>
                  <a:cubicBezTo>
                    <a:pt x="355" y="87"/>
                    <a:pt x="364" y="85"/>
                    <a:pt x="371" y="81"/>
                  </a:cubicBezTo>
                  <a:lnTo>
                    <a:pt x="371" y="69"/>
                  </a:lnTo>
                  <a:cubicBezTo>
                    <a:pt x="364" y="73"/>
                    <a:pt x="357" y="75"/>
                    <a:pt x="349" y="75"/>
                  </a:cubicBezTo>
                  <a:cubicBezTo>
                    <a:pt x="342" y="75"/>
                    <a:pt x="339" y="71"/>
                    <a:pt x="339" y="61"/>
                  </a:cubicBezTo>
                  <a:lnTo>
                    <a:pt x="372" y="61"/>
                  </a:lnTo>
                  <a:cubicBezTo>
                    <a:pt x="372" y="61"/>
                    <a:pt x="372" y="57"/>
                    <a:pt x="372" y="56"/>
                  </a:cubicBezTo>
                  <a:moveTo>
                    <a:pt x="357" y="52"/>
                  </a:moveTo>
                  <a:lnTo>
                    <a:pt x="339" y="52"/>
                  </a:lnTo>
                  <a:cubicBezTo>
                    <a:pt x="339" y="47"/>
                    <a:pt x="341" y="39"/>
                    <a:pt x="348" y="39"/>
                  </a:cubicBezTo>
                  <a:cubicBezTo>
                    <a:pt x="356" y="39"/>
                    <a:pt x="357" y="47"/>
                    <a:pt x="357" y="52"/>
                  </a:cubicBezTo>
                  <a:moveTo>
                    <a:pt x="403" y="79"/>
                  </a:moveTo>
                  <a:cubicBezTo>
                    <a:pt x="402" y="67"/>
                    <a:pt x="385" y="67"/>
                    <a:pt x="384" y="79"/>
                  </a:cubicBezTo>
                  <a:cubicBezTo>
                    <a:pt x="384" y="84"/>
                    <a:pt x="388" y="88"/>
                    <a:pt x="394" y="87"/>
                  </a:cubicBezTo>
                  <a:cubicBezTo>
                    <a:pt x="399" y="88"/>
                    <a:pt x="403" y="84"/>
                    <a:pt x="403" y="79"/>
                  </a:cubicBezTo>
                  <a:close/>
                  <a:moveTo>
                    <a:pt x="525" y="10"/>
                  </a:moveTo>
                  <a:lnTo>
                    <a:pt x="509" y="9"/>
                  </a:lnTo>
                  <a:lnTo>
                    <a:pt x="500" y="46"/>
                  </a:lnTo>
                  <a:cubicBezTo>
                    <a:pt x="499" y="52"/>
                    <a:pt x="497" y="63"/>
                    <a:pt x="497" y="65"/>
                  </a:cubicBezTo>
                  <a:cubicBezTo>
                    <a:pt x="496" y="63"/>
                    <a:pt x="494" y="52"/>
                    <a:pt x="493" y="46"/>
                  </a:cubicBezTo>
                  <a:lnTo>
                    <a:pt x="485" y="9"/>
                  </a:lnTo>
                  <a:lnTo>
                    <a:pt x="468" y="9"/>
                  </a:lnTo>
                  <a:lnTo>
                    <a:pt x="460" y="46"/>
                  </a:lnTo>
                  <a:cubicBezTo>
                    <a:pt x="458" y="52"/>
                    <a:pt x="457" y="62"/>
                    <a:pt x="456" y="65"/>
                  </a:cubicBezTo>
                  <a:cubicBezTo>
                    <a:pt x="456" y="62"/>
                    <a:pt x="454" y="52"/>
                    <a:pt x="453" y="46"/>
                  </a:cubicBezTo>
                  <a:lnTo>
                    <a:pt x="444" y="8"/>
                  </a:lnTo>
                  <a:lnTo>
                    <a:pt x="427" y="9"/>
                  </a:lnTo>
                  <a:lnTo>
                    <a:pt x="448" y="86"/>
                  </a:lnTo>
                  <a:lnTo>
                    <a:pt x="464" y="86"/>
                  </a:lnTo>
                  <a:lnTo>
                    <a:pt x="472" y="51"/>
                  </a:lnTo>
                  <a:cubicBezTo>
                    <a:pt x="473" y="45"/>
                    <a:pt x="476" y="31"/>
                    <a:pt x="476" y="31"/>
                  </a:cubicBezTo>
                  <a:cubicBezTo>
                    <a:pt x="476" y="31"/>
                    <a:pt x="479" y="45"/>
                    <a:pt x="480" y="51"/>
                  </a:cubicBezTo>
                  <a:lnTo>
                    <a:pt x="488" y="86"/>
                  </a:lnTo>
                  <a:lnTo>
                    <a:pt x="505" y="86"/>
                  </a:lnTo>
                  <a:lnTo>
                    <a:pt x="525" y="10"/>
                  </a:lnTo>
                  <a:close/>
                  <a:moveTo>
                    <a:pt x="578" y="86"/>
                  </a:moveTo>
                  <a:cubicBezTo>
                    <a:pt x="578" y="82"/>
                    <a:pt x="577" y="78"/>
                    <a:pt x="577" y="74"/>
                  </a:cubicBezTo>
                  <a:lnTo>
                    <a:pt x="577" y="47"/>
                  </a:lnTo>
                  <a:cubicBezTo>
                    <a:pt x="578" y="42"/>
                    <a:pt x="577" y="37"/>
                    <a:pt x="574" y="33"/>
                  </a:cubicBezTo>
                  <a:cubicBezTo>
                    <a:pt x="570" y="29"/>
                    <a:pt x="564" y="27"/>
                    <a:pt x="559" y="28"/>
                  </a:cubicBezTo>
                  <a:cubicBezTo>
                    <a:pt x="551" y="28"/>
                    <a:pt x="543" y="30"/>
                    <a:pt x="535" y="33"/>
                  </a:cubicBezTo>
                  <a:lnTo>
                    <a:pt x="536" y="45"/>
                  </a:lnTo>
                  <a:cubicBezTo>
                    <a:pt x="542" y="42"/>
                    <a:pt x="549" y="40"/>
                    <a:pt x="556" y="40"/>
                  </a:cubicBezTo>
                  <a:cubicBezTo>
                    <a:pt x="561" y="40"/>
                    <a:pt x="562" y="42"/>
                    <a:pt x="562" y="46"/>
                  </a:cubicBezTo>
                  <a:lnTo>
                    <a:pt x="562" y="52"/>
                  </a:lnTo>
                  <a:cubicBezTo>
                    <a:pt x="553" y="52"/>
                    <a:pt x="545" y="54"/>
                    <a:pt x="537" y="58"/>
                  </a:cubicBezTo>
                  <a:cubicBezTo>
                    <a:pt x="533" y="61"/>
                    <a:pt x="531" y="65"/>
                    <a:pt x="532" y="70"/>
                  </a:cubicBezTo>
                  <a:cubicBezTo>
                    <a:pt x="531" y="79"/>
                    <a:pt x="538" y="87"/>
                    <a:pt x="548" y="87"/>
                  </a:cubicBezTo>
                  <a:cubicBezTo>
                    <a:pt x="553" y="87"/>
                    <a:pt x="559" y="84"/>
                    <a:pt x="563" y="81"/>
                  </a:cubicBezTo>
                  <a:cubicBezTo>
                    <a:pt x="563" y="82"/>
                    <a:pt x="563" y="84"/>
                    <a:pt x="564" y="86"/>
                  </a:cubicBezTo>
                  <a:lnTo>
                    <a:pt x="578" y="86"/>
                  </a:lnTo>
                  <a:close/>
                  <a:moveTo>
                    <a:pt x="562" y="71"/>
                  </a:moveTo>
                  <a:cubicBezTo>
                    <a:pt x="559" y="74"/>
                    <a:pt x="556" y="75"/>
                    <a:pt x="552" y="76"/>
                  </a:cubicBezTo>
                  <a:cubicBezTo>
                    <a:pt x="548" y="76"/>
                    <a:pt x="547" y="72"/>
                    <a:pt x="547" y="69"/>
                  </a:cubicBezTo>
                  <a:cubicBezTo>
                    <a:pt x="547" y="67"/>
                    <a:pt x="547" y="65"/>
                    <a:pt x="549" y="64"/>
                  </a:cubicBezTo>
                  <a:cubicBezTo>
                    <a:pt x="553" y="62"/>
                    <a:pt x="557" y="60"/>
                    <a:pt x="562" y="61"/>
                  </a:cubicBezTo>
                  <a:lnTo>
                    <a:pt x="562" y="71"/>
                  </a:lnTo>
                  <a:close/>
                  <a:moveTo>
                    <a:pt x="632" y="69"/>
                  </a:moveTo>
                  <a:cubicBezTo>
                    <a:pt x="632" y="55"/>
                    <a:pt x="619" y="53"/>
                    <a:pt x="610" y="49"/>
                  </a:cubicBezTo>
                  <a:cubicBezTo>
                    <a:pt x="608" y="48"/>
                    <a:pt x="606" y="47"/>
                    <a:pt x="606" y="44"/>
                  </a:cubicBezTo>
                  <a:cubicBezTo>
                    <a:pt x="606" y="42"/>
                    <a:pt x="607" y="40"/>
                    <a:pt x="611" y="40"/>
                  </a:cubicBezTo>
                  <a:cubicBezTo>
                    <a:pt x="617" y="40"/>
                    <a:pt x="623" y="41"/>
                    <a:pt x="628" y="44"/>
                  </a:cubicBezTo>
                  <a:lnTo>
                    <a:pt x="629" y="31"/>
                  </a:lnTo>
                  <a:cubicBezTo>
                    <a:pt x="623" y="29"/>
                    <a:pt x="618" y="28"/>
                    <a:pt x="612" y="28"/>
                  </a:cubicBezTo>
                  <a:cubicBezTo>
                    <a:pt x="601" y="27"/>
                    <a:pt x="591" y="35"/>
                    <a:pt x="591" y="46"/>
                  </a:cubicBezTo>
                  <a:cubicBezTo>
                    <a:pt x="591" y="58"/>
                    <a:pt x="604" y="61"/>
                    <a:pt x="612" y="65"/>
                  </a:cubicBezTo>
                  <a:cubicBezTo>
                    <a:pt x="615" y="66"/>
                    <a:pt x="617" y="67"/>
                    <a:pt x="617" y="70"/>
                  </a:cubicBezTo>
                  <a:cubicBezTo>
                    <a:pt x="617" y="73"/>
                    <a:pt x="615" y="75"/>
                    <a:pt x="611" y="75"/>
                  </a:cubicBezTo>
                  <a:cubicBezTo>
                    <a:pt x="604" y="74"/>
                    <a:pt x="597" y="72"/>
                    <a:pt x="591" y="69"/>
                  </a:cubicBezTo>
                  <a:lnTo>
                    <a:pt x="590" y="83"/>
                  </a:lnTo>
                  <a:cubicBezTo>
                    <a:pt x="597" y="86"/>
                    <a:pt x="604" y="87"/>
                    <a:pt x="611" y="88"/>
                  </a:cubicBezTo>
                  <a:cubicBezTo>
                    <a:pt x="622" y="89"/>
                    <a:pt x="632" y="80"/>
                    <a:pt x="632" y="69"/>
                  </a:cubicBezTo>
                  <a:moveTo>
                    <a:pt x="684" y="69"/>
                  </a:moveTo>
                  <a:cubicBezTo>
                    <a:pt x="684" y="55"/>
                    <a:pt x="671" y="53"/>
                    <a:pt x="661" y="49"/>
                  </a:cubicBezTo>
                  <a:cubicBezTo>
                    <a:pt x="659" y="48"/>
                    <a:pt x="657" y="47"/>
                    <a:pt x="657" y="45"/>
                  </a:cubicBezTo>
                  <a:cubicBezTo>
                    <a:pt x="657" y="43"/>
                    <a:pt x="659" y="40"/>
                    <a:pt x="663" y="40"/>
                  </a:cubicBezTo>
                  <a:cubicBezTo>
                    <a:pt x="669" y="40"/>
                    <a:pt x="674" y="42"/>
                    <a:pt x="680" y="44"/>
                  </a:cubicBezTo>
                  <a:lnTo>
                    <a:pt x="680" y="31"/>
                  </a:lnTo>
                  <a:cubicBezTo>
                    <a:pt x="675" y="29"/>
                    <a:pt x="669" y="28"/>
                    <a:pt x="663" y="28"/>
                  </a:cubicBezTo>
                  <a:cubicBezTo>
                    <a:pt x="652" y="27"/>
                    <a:pt x="643" y="35"/>
                    <a:pt x="642" y="46"/>
                  </a:cubicBezTo>
                  <a:cubicBezTo>
                    <a:pt x="642" y="58"/>
                    <a:pt x="655" y="61"/>
                    <a:pt x="664" y="65"/>
                  </a:cubicBezTo>
                  <a:cubicBezTo>
                    <a:pt x="667" y="66"/>
                    <a:pt x="669" y="67"/>
                    <a:pt x="669" y="70"/>
                  </a:cubicBezTo>
                  <a:cubicBezTo>
                    <a:pt x="669" y="73"/>
                    <a:pt x="666" y="75"/>
                    <a:pt x="663" y="75"/>
                  </a:cubicBezTo>
                  <a:cubicBezTo>
                    <a:pt x="656" y="74"/>
                    <a:pt x="649" y="72"/>
                    <a:pt x="643" y="69"/>
                  </a:cubicBezTo>
                  <a:lnTo>
                    <a:pt x="642" y="83"/>
                  </a:lnTo>
                  <a:cubicBezTo>
                    <a:pt x="648" y="86"/>
                    <a:pt x="655" y="87"/>
                    <a:pt x="662" y="88"/>
                  </a:cubicBezTo>
                  <a:cubicBezTo>
                    <a:pt x="673" y="89"/>
                    <a:pt x="683" y="80"/>
                    <a:pt x="684" y="69"/>
                  </a:cubicBezTo>
                  <a:moveTo>
                    <a:pt x="743" y="56"/>
                  </a:moveTo>
                  <a:cubicBezTo>
                    <a:pt x="743" y="43"/>
                    <a:pt x="737" y="28"/>
                    <a:pt x="718" y="28"/>
                  </a:cubicBezTo>
                  <a:cubicBezTo>
                    <a:pt x="701" y="28"/>
                    <a:pt x="693" y="43"/>
                    <a:pt x="693" y="58"/>
                  </a:cubicBezTo>
                  <a:cubicBezTo>
                    <a:pt x="693" y="68"/>
                    <a:pt x="697" y="87"/>
                    <a:pt x="717" y="87"/>
                  </a:cubicBezTo>
                  <a:cubicBezTo>
                    <a:pt x="726" y="88"/>
                    <a:pt x="734" y="86"/>
                    <a:pt x="742" y="81"/>
                  </a:cubicBezTo>
                  <a:lnTo>
                    <a:pt x="741" y="70"/>
                  </a:lnTo>
                  <a:cubicBezTo>
                    <a:pt x="734" y="73"/>
                    <a:pt x="727" y="75"/>
                    <a:pt x="720" y="76"/>
                  </a:cubicBezTo>
                  <a:cubicBezTo>
                    <a:pt x="713" y="76"/>
                    <a:pt x="709" y="71"/>
                    <a:pt x="709" y="61"/>
                  </a:cubicBezTo>
                  <a:lnTo>
                    <a:pt x="742" y="61"/>
                  </a:lnTo>
                  <a:cubicBezTo>
                    <a:pt x="742" y="61"/>
                    <a:pt x="743" y="57"/>
                    <a:pt x="743" y="56"/>
                  </a:cubicBezTo>
                  <a:moveTo>
                    <a:pt x="727" y="52"/>
                  </a:moveTo>
                  <a:lnTo>
                    <a:pt x="710" y="52"/>
                  </a:lnTo>
                  <a:cubicBezTo>
                    <a:pt x="710" y="47"/>
                    <a:pt x="711" y="39"/>
                    <a:pt x="718" y="39"/>
                  </a:cubicBezTo>
                  <a:cubicBezTo>
                    <a:pt x="726" y="39"/>
                    <a:pt x="727" y="47"/>
                    <a:pt x="727" y="52"/>
                  </a:cubicBezTo>
                  <a:close/>
                  <a:moveTo>
                    <a:pt x="790" y="29"/>
                  </a:moveTo>
                  <a:cubicBezTo>
                    <a:pt x="790" y="29"/>
                    <a:pt x="789" y="28"/>
                    <a:pt x="783" y="28"/>
                  </a:cubicBezTo>
                  <a:cubicBezTo>
                    <a:pt x="779" y="29"/>
                    <a:pt x="775" y="31"/>
                    <a:pt x="772" y="35"/>
                  </a:cubicBezTo>
                  <a:cubicBezTo>
                    <a:pt x="772" y="35"/>
                    <a:pt x="771" y="35"/>
                    <a:pt x="771" y="36"/>
                  </a:cubicBezTo>
                  <a:cubicBezTo>
                    <a:pt x="771" y="34"/>
                    <a:pt x="771" y="31"/>
                    <a:pt x="770" y="29"/>
                  </a:cubicBezTo>
                  <a:lnTo>
                    <a:pt x="756" y="29"/>
                  </a:lnTo>
                  <a:cubicBezTo>
                    <a:pt x="756" y="34"/>
                    <a:pt x="756" y="38"/>
                    <a:pt x="756" y="43"/>
                  </a:cubicBezTo>
                  <a:lnTo>
                    <a:pt x="756" y="86"/>
                  </a:lnTo>
                  <a:lnTo>
                    <a:pt x="772" y="86"/>
                  </a:lnTo>
                  <a:lnTo>
                    <a:pt x="772" y="46"/>
                  </a:lnTo>
                  <a:cubicBezTo>
                    <a:pt x="774" y="43"/>
                    <a:pt x="777" y="42"/>
                    <a:pt x="781" y="41"/>
                  </a:cubicBezTo>
                  <a:cubicBezTo>
                    <a:pt x="784" y="41"/>
                    <a:pt x="786" y="41"/>
                    <a:pt x="789" y="41"/>
                  </a:cubicBezTo>
                  <a:lnTo>
                    <a:pt x="790" y="29"/>
                  </a:lnTo>
                  <a:close/>
                  <a:moveTo>
                    <a:pt x="805" y="79"/>
                  </a:moveTo>
                  <a:cubicBezTo>
                    <a:pt x="804" y="67"/>
                    <a:pt x="787" y="67"/>
                    <a:pt x="786" y="79"/>
                  </a:cubicBezTo>
                  <a:cubicBezTo>
                    <a:pt x="786" y="84"/>
                    <a:pt x="790" y="88"/>
                    <a:pt x="796" y="88"/>
                  </a:cubicBezTo>
                  <a:cubicBezTo>
                    <a:pt x="801" y="88"/>
                    <a:pt x="805" y="84"/>
                    <a:pt x="805" y="79"/>
                  </a:cubicBezTo>
                  <a:moveTo>
                    <a:pt x="891" y="86"/>
                  </a:moveTo>
                  <a:lnTo>
                    <a:pt x="891" y="72"/>
                  </a:lnTo>
                  <a:lnTo>
                    <a:pt x="859" y="72"/>
                  </a:lnTo>
                  <a:lnTo>
                    <a:pt x="859" y="9"/>
                  </a:lnTo>
                  <a:lnTo>
                    <a:pt x="843" y="9"/>
                  </a:lnTo>
                  <a:lnTo>
                    <a:pt x="843" y="86"/>
                  </a:lnTo>
                  <a:lnTo>
                    <a:pt x="891" y="86"/>
                  </a:lnTo>
                  <a:close/>
                  <a:moveTo>
                    <a:pt x="949" y="56"/>
                  </a:moveTo>
                  <a:cubicBezTo>
                    <a:pt x="949" y="43"/>
                    <a:pt x="944" y="28"/>
                    <a:pt x="924" y="28"/>
                  </a:cubicBezTo>
                  <a:cubicBezTo>
                    <a:pt x="907" y="28"/>
                    <a:pt x="900" y="43"/>
                    <a:pt x="900" y="58"/>
                  </a:cubicBezTo>
                  <a:cubicBezTo>
                    <a:pt x="900" y="68"/>
                    <a:pt x="903" y="87"/>
                    <a:pt x="923" y="87"/>
                  </a:cubicBezTo>
                  <a:cubicBezTo>
                    <a:pt x="932" y="88"/>
                    <a:pt x="940" y="86"/>
                    <a:pt x="948" y="81"/>
                  </a:cubicBezTo>
                  <a:lnTo>
                    <a:pt x="947" y="70"/>
                  </a:lnTo>
                  <a:cubicBezTo>
                    <a:pt x="941" y="73"/>
                    <a:pt x="933" y="75"/>
                    <a:pt x="926" y="76"/>
                  </a:cubicBezTo>
                  <a:cubicBezTo>
                    <a:pt x="919" y="76"/>
                    <a:pt x="916" y="71"/>
                    <a:pt x="916" y="61"/>
                  </a:cubicBezTo>
                  <a:lnTo>
                    <a:pt x="949" y="61"/>
                  </a:lnTo>
                  <a:cubicBezTo>
                    <a:pt x="949" y="61"/>
                    <a:pt x="949" y="57"/>
                    <a:pt x="949" y="56"/>
                  </a:cubicBezTo>
                  <a:moveTo>
                    <a:pt x="933" y="52"/>
                  </a:moveTo>
                  <a:lnTo>
                    <a:pt x="916" y="52"/>
                  </a:lnTo>
                  <a:cubicBezTo>
                    <a:pt x="916" y="47"/>
                    <a:pt x="917" y="39"/>
                    <a:pt x="924" y="39"/>
                  </a:cubicBezTo>
                  <a:cubicBezTo>
                    <a:pt x="932" y="39"/>
                    <a:pt x="933" y="47"/>
                    <a:pt x="933" y="52"/>
                  </a:cubicBezTo>
                  <a:close/>
                  <a:moveTo>
                    <a:pt x="1015" y="57"/>
                  </a:moveTo>
                  <a:cubicBezTo>
                    <a:pt x="1015" y="46"/>
                    <a:pt x="1012" y="28"/>
                    <a:pt x="993" y="28"/>
                  </a:cubicBezTo>
                  <a:cubicBezTo>
                    <a:pt x="988" y="28"/>
                    <a:pt x="982" y="30"/>
                    <a:pt x="978" y="34"/>
                  </a:cubicBezTo>
                  <a:cubicBezTo>
                    <a:pt x="978" y="34"/>
                    <a:pt x="978" y="30"/>
                    <a:pt x="978" y="28"/>
                  </a:cubicBezTo>
                  <a:lnTo>
                    <a:pt x="978" y="3"/>
                  </a:lnTo>
                  <a:lnTo>
                    <a:pt x="963" y="4"/>
                  </a:lnTo>
                  <a:lnTo>
                    <a:pt x="963" y="74"/>
                  </a:lnTo>
                  <a:cubicBezTo>
                    <a:pt x="963" y="78"/>
                    <a:pt x="962" y="82"/>
                    <a:pt x="962" y="86"/>
                  </a:cubicBezTo>
                  <a:lnTo>
                    <a:pt x="977" y="86"/>
                  </a:lnTo>
                  <a:cubicBezTo>
                    <a:pt x="977" y="85"/>
                    <a:pt x="977" y="83"/>
                    <a:pt x="977" y="82"/>
                  </a:cubicBezTo>
                  <a:cubicBezTo>
                    <a:pt x="982" y="85"/>
                    <a:pt x="987" y="87"/>
                    <a:pt x="993" y="87"/>
                  </a:cubicBezTo>
                  <a:cubicBezTo>
                    <a:pt x="1007" y="87"/>
                    <a:pt x="1015" y="74"/>
                    <a:pt x="1015" y="57"/>
                  </a:cubicBezTo>
                  <a:moveTo>
                    <a:pt x="999" y="57"/>
                  </a:moveTo>
                  <a:cubicBezTo>
                    <a:pt x="999" y="70"/>
                    <a:pt x="994" y="75"/>
                    <a:pt x="990" y="75"/>
                  </a:cubicBezTo>
                  <a:cubicBezTo>
                    <a:pt x="986" y="75"/>
                    <a:pt x="982" y="73"/>
                    <a:pt x="978" y="71"/>
                  </a:cubicBezTo>
                  <a:lnTo>
                    <a:pt x="978" y="45"/>
                  </a:lnTo>
                  <a:cubicBezTo>
                    <a:pt x="982" y="42"/>
                    <a:pt x="986" y="40"/>
                    <a:pt x="990" y="40"/>
                  </a:cubicBezTo>
                  <a:cubicBezTo>
                    <a:pt x="998" y="40"/>
                    <a:pt x="999" y="51"/>
                    <a:pt x="999" y="57"/>
                  </a:cubicBezTo>
                  <a:moveTo>
                    <a:pt x="1075" y="56"/>
                  </a:moveTo>
                  <a:cubicBezTo>
                    <a:pt x="1075" y="43"/>
                    <a:pt x="1070" y="28"/>
                    <a:pt x="1050" y="28"/>
                  </a:cubicBezTo>
                  <a:cubicBezTo>
                    <a:pt x="1033" y="28"/>
                    <a:pt x="1026" y="43"/>
                    <a:pt x="1026" y="58"/>
                  </a:cubicBezTo>
                  <a:cubicBezTo>
                    <a:pt x="1026" y="68"/>
                    <a:pt x="1029" y="87"/>
                    <a:pt x="1049" y="87"/>
                  </a:cubicBezTo>
                  <a:cubicBezTo>
                    <a:pt x="1058" y="88"/>
                    <a:pt x="1066" y="86"/>
                    <a:pt x="1074" y="81"/>
                  </a:cubicBezTo>
                  <a:lnTo>
                    <a:pt x="1073" y="70"/>
                  </a:lnTo>
                  <a:cubicBezTo>
                    <a:pt x="1067" y="73"/>
                    <a:pt x="1059" y="75"/>
                    <a:pt x="1052" y="76"/>
                  </a:cubicBezTo>
                  <a:cubicBezTo>
                    <a:pt x="1045" y="76"/>
                    <a:pt x="1042" y="71"/>
                    <a:pt x="1042" y="61"/>
                  </a:cubicBezTo>
                  <a:lnTo>
                    <a:pt x="1075" y="61"/>
                  </a:lnTo>
                  <a:cubicBezTo>
                    <a:pt x="1075" y="61"/>
                    <a:pt x="1075" y="57"/>
                    <a:pt x="1075" y="56"/>
                  </a:cubicBezTo>
                  <a:moveTo>
                    <a:pt x="1060" y="52"/>
                  </a:moveTo>
                  <a:lnTo>
                    <a:pt x="1042" y="52"/>
                  </a:lnTo>
                  <a:cubicBezTo>
                    <a:pt x="1042" y="47"/>
                    <a:pt x="1043" y="39"/>
                    <a:pt x="1050" y="39"/>
                  </a:cubicBezTo>
                  <a:cubicBezTo>
                    <a:pt x="1058" y="39"/>
                    <a:pt x="1060" y="47"/>
                    <a:pt x="1060" y="52"/>
                  </a:cubicBezTo>
                  <a:close/>
                  <a:moveTo>
                    <a:pt x="1138" y="86"/>
                  </a:moveTo>
                  <a:lnTo>
                    <a:pt x="1138" y="47"/>
                  </a:lnTo>
                  <a:cubicBezTo>
                    <a:pt x="1139" y="42"/>
                    <a:pt x="1138" y="38"/>
                    <a:pt x="1135" y="34"/>
                  </a:cubicBezTo>
                  <a:cubicBezTo>
                    <a:pt x="1132" y="30"/>
                    <a:pt x="1127" y="27"/>
                    <a:pt x="1121" y="28"/>
                  </a:cubicBezTo>
                  <a:cubicBezTo>
                    <a:pt x="1115" y="29"/>
                    <a:pt x="1108" y="32"/>
                    <a:pt x="1103" y="37"/>
                  </a:cubicBezTo>
                  <a:cubicBezTo>
                    <a:pt x="1103" y="34"/>
                    <a:pt x="1103" y="32"/>
                    <a:pt x="1102" y="29"/>
                  </a:cubicBezTo>
                  <a:lnTo>
                    <a:pt x="1088" y="29"/>
                  </a:lnTo>
                  <a:cubicBezTo>
                    <a:pt x="1088" y="29"/>
                    <a:pt x="1089" y="36"/>
                    <a:pt x="1089" y="43"/>
                  </a:cubicBezTo>
                  <a:lnTo>
                    <a:pt x="1089" y="86"/>
                  </a:lnTo>
                  <a:lnTo>
                    <a:pt x="1104" y="86"/>
                  </a:lnTo>
                  <a:lnTo>
                    <a:pt x="1104" y="48"/>
                  </a:lnTo>
                  <a:cubicBezTo>
                    <a:pt x="1107" y="44"/>
                    <a:pt x="1112" y="42"/>
                    <a:pt x="1116" y="41"/>
                  </a:cubicBezTo>
                  <a:cubicBezTo>
                    <a:pt x="1120" y="41"/>
                    <a:pt x="1123" y="42"/>
                    <a:pt x="1123" y="48"/>
                  </a:cubicBezTo>
                  <a:lnTo>
                    <a:pt x="1123" y="86"/>
                  </a:lnTo>
                  <a:lnTo>
                    <a:pt x="1138" y="86"/>
                  </a:lnTo>
                  <a:close/>
                  <a:moveTo>
                    <a:pt x="1170" y="79"/>
                  </a:moveTo>
                  <a:cubicBezTo>
                    <a:pt x="1170" y="74"/>
                    <a:pt x="1165" y="70"/>
                    <a:pt x="1160" y="70"/>
                  </a:cubicBezTo>
                  <a:cubicBezTo>
                    <a:pt x="1155" y="70"/>
                    <a:pt x="1151" y="74"/>
                    <a:pt x="1151" y="79"/>
                  </a:cubicBezTo>
                  <a:cubicBezTo>
                    <a:pt x="1151" y="84"/>
                    <a:pt x="1155" y="88"/>
                    <a:pt x="1160" y="88"/>
                  </a:cubicBezTo>
                  <a:cubicBezTo>
                    <a:pt x="1165" y="88"/>
                    <a:pt x="1170" y="84"/>
                    <a:pt x="1170" y="79"/>
                  </a:cubicBezTo>
                  <a:close/>
                </a:path>
              </a:pathLst>
            </a:custGeom>
            <a:solidFill>
              <a:srgbClr val="57687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513184" y="829175"/>
            <a:ext cx="3456000" cy="1944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506836" y="3071333"/>
            <a:ext cx="5976000" cy="5544000"/>
          </a:xfrm>
          <a:prstGeom prst="rect">
            <a:avLst/>
          </a:prstGeom>
          <a:noFill/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Kopfzeilenplatzhalter 1">
            <a:extLst>
              <a:ext uri="{FF2B5EF4-FFF2-40B4-BE49-F238E27FC236}">
                <a16:creationId xmlns:a16="http://schemas.microsoft.com/office/drawing/2014/main" id="{4D7F9280-8DDA-4ED3-85AF-A8FB32875B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513184" y="251544"/>
            <a:ext cx="4572000" cy="2160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utor | Präsentationstitel</a:t>
            </a:r>
          </a:p>
        </p:txBody>
      </p:sp>
      <p:sp>
        <p:nvSpPr>
          <p:cNvPr id="18" name="Datumsplatzhalter 2">
            <a:extLst>
              <a:ext uri="{FF2B5EF4-FFF2-40B4-BE49-F238E27FC236}">
                <a16:creationId xmlns:a16="http://schemas.microsoft.com/office/drawing/2014/main" id="{70D23CD4-7CF0-43F8-895C-893A18A031E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040175" y="8892480"/>
            <a:ext cx="720000" cy="216000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A531277-558D-46D9-9711-684B2B2597D3}" type="datetime1">
              <a:rPr lang="de-DE" smtClean="0"/>
              <a:t>05.12.2025</a:t>
            </a:fld>
            <a:endParaRPr lang="de-DE"/>
          </a:p>
        </p:txBody>
      </p:sp>
      <p:sp>
        <p:nvSpPr>
          <p:cNvPr id="19" name="Fußzeilenplatzhalter 5">
            <a:extLst>
              <a:ext uri="{FF2B5EF4-FFF2-40B4-BE49-F238E27FC236}">
                <a16:creationId xmlns:a16="http://schemas.microsoft.com/office/drawing/2014/main" id="{D69C8AC2-6E15-4BDA-AB3F-F199C93B4B0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503238" y="8892076"/>
            <a:ext cx="2971800" cy="216000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© BDEW e.V. | Bundesverband der Energie- und Wasserwirtschaft </a:t>
            </a:r>
          </a:p>
        </p:txBody>
      </p:sp>
      <p:sp>
        <p:nvSpPr>
          <p:cNvPr id="20" name="Foliennummernplatzhalter 6">
            <a:extLst>
              <a:ext uri="{FF2B5EF4-FFF2-40B4-BE49-F238E27FC236}">
                <a16:creationId xmlns:a16="http://schemas.microsoft.com/office/drawing/2014/main" id="{BD7FF5CB-B451-4C0C-B34F-DA8795E177E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760175" y="8892480"/>
            <a:ext cx="720000" cy="216000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Folie </a:t>
            </a:r>
            <a:fld id="{6D4C9060-DEFA-4A83-8BDF-49E32732D5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0" name="Foliennummernplatzhalter 6">
            <a:extLst>
              <a:ext uri="{FF2B5EF4-FFF2-40B4-BE49-F238E27FC236}">
                <a16:creationId xmlns:a16="http://schemas.microsoft.com/office/drawing/2014/main" id="{84B479A7-1EB3-467C-B215-B0596D630CD3}"/>
              </a:ext>
            </a:extLst>
          </p:cNvPr>
          <p:cNvSpPr txBox="1">
            <a:spLocks/>
          </p:cNvSpPr>
          <p:nvPr/>
        </p:nvSpPr>
        <p:spPr>
          <a:xfrm>
            <a:off x="4077072" y="2557175"/>
            <a:ext cx="720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691195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597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1195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6792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2390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27987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3585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9182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64780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>
                <a:solidFill>
                  <a:schemeClr val="bg1"/>
                </a:solidFill>
              </a:rPr>
              <a:t>Folie </a:t>
            </a:r>
            <a:fld id="{6D4C9060-DEFA-4A83-8BDF-49E32732D5D6}" type="slidenum">
              <a:rPr lang="de-DE" smtClean="0">
                <a:solidFill>
                  <a:schemeClr val="bg1"/>
                </a:solidFill>
              </a:rPr>
              <a:pPr algn="l"/>
              <a:t>‹Nr.›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16383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80000" indent="-180000" algn="l" defTabSz="691195" rtl="0" eaLnBrk="1" latinLnBrk="0" hangingPunct="1">
      <a:spcBef>
        <a:spcPts val="400"/>
      </a:spcBef>
      <a:spcAft>
        <a:spcPts val="400"/>
      </a:spcAft>
      <a:buClr>
        <a:schemeClr val="accent1"/>
      </a:buClr>
      <a:buFont typeface="Calibri" panose="020F0502020204030204" pitchFamily="34" charset="0"/>
      <a:buChar char="»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0000" indent="-180000" algn="l" defTabSz="691195" rtl="0" eaLnBrk="1" latinLnBrk="0" hangingPunct="1">
      <a:spcBef>
        <a:spcPts val="300"/>
      </a:spcBef>
      <a:spcAft>
        <a:spcPts val="300"/>
      </a:spcAft>
      <a:buClr>
        <a:schemeClr val="accent1"/>
      </a:buClr>
      <a:buFont typeface="Calibri" panose="020F0502020204030204" pitchFamily="34" charset="0"/>
      <a:buChar char="»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40000" indent="-180000" algn="l" defTabSz="691195" rtl="0" eaLnBrk="1" latinLnBrk="0" hangingPunct="1">
      <a:spcBef>
        <a:spcPts val="200"/>
      </a:spcBef>
      <a:spcAft>
        <a:spcPts val="200"/>
      </a:spcAft>
      <a:buClr>
        <a:schemeClr val="accent1"/>
      </a:buClr>
      <a:buFont typeface="Calibri" panose="020F0502020204030204" pitchFamily="34" charset="0"/>
      <a:buChar char="»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691195" rtl="0" eaLnBrk="1" latinLnBrk="0" hangingPunct="1">
      <a:spcBef>
        <a:spcPts val="200"/>
      </a:spcBef>
      <a:spcAft>
        <a:spcPts val="200"/>
      </a:spcAft>
      <a:buClr>
        <a:schemeClr val="accent1"/>
      </a:buClr>
      <a:buFont typeface="Calibri" panose="020F0502020204030204" pitchFamily="34" charset="0"/>
      <a:buChar char="»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900000" indent="-180000" algn="l" defTabSz="691195" rtl="0" eaLnBrk="1" latinLnBrk="0" hangingPunct="1">
      <a:spcBef>
        <a:spcPts val="100"/>
      </a:spcBef>
      <a:spcAft>
        <a:spcPts val="100"/>
      </a:spcAft>
      <a:buClr>
        <a:schemeClr val="accent1"/>
      </a:buClr>
      <a:buFont typeface="Calibri" panose="020F0502020204030204" pitchFamily="34" charset="0"/>
      <a:buChar char="»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27987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6pPr>
    <a:lvl7pPr marL="2073585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7pPr>
    <a:lvl8pPr marL="2419182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8pPr>
    <a:lvl9pPr marL="2764780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4082" userDrawn="1">
          <p15:clr>
            <a:srgbClr val="F26B43"/>
          </p15:clr>
        </p15:guide>
        <p15:guide id="3" pos="317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2763" y="828675"/>
            <a:ext cx="3455987" cy="1944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© 2011 BDEW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154C73-A333-4F75-A0BA-DF49EF5BEF20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ite </a:t>
            </a:r>
            <a:fld id="{A7B0E584-BE88-4E77-A877-883B1F5EA48F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6911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284727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2763" y="828675"/>
            <a:ext cx="3455987" cy="1944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© 2011 BDEW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F66BC9-310F-4A91-9325-16167B198A1B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ite </a:t>
            </a:r>
            <a:fld id="{A7B0E584-BE88-4E77-A877-883B1F5EA48F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6911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554275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2763" y="828675"/>
            <a:ext cx="3455987" cy="1944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© 2011 BDEW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D38A60-E704-4031-9983-8B53BACF8CDF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ite </a:t>
            </a:r>
            <a:fld id="{A7B0E584-BE88-4E77-A877-883B1F5EA48F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6911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947082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2763" y="828675"/>
            <a:ext cx="3455987" cy="1944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© 2011 BDEW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3EB5D7-3DA0-4569-A83F-3AA4EAE27E59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ite </a:t>
            </a:r>
            <a:fld id="{A7B0E584-BE88-4E77-A877-883B1F5EA48F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6911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36717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2763" y="828675"/>
            <a:ext cx="3455987" cy="1944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© 2011 BDEW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62ED16-F382-4FA3-8F8E-0E9DF13D5C1B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ite </a:t>
            </a:r>
            <a:fld id="{A7B0E584-BE88-4E77-A877-883B1F5EA48F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6911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259954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2763" y="828675"/>
            <a:ext cx="3455987" cy="1944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© 2013 BDEW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E82574-5127-491E-8086-6FDDF38EBD57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ite </a:t>
            </a:r>
            <a:fld id="{A7B0E584-BE88-4E77-A877-883B1F5EA48F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6911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171012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2763" y="828675"/>
            <a:ext cx="3455987" cy="1944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© 2011 BDEW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6444F8-9617-4491-B9A2-78446AEBD114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ite </a:t>
            </a:r>
            <a:fld id="{A7B0E584-BE88-4E77-A877-883B1F5EA48F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6911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203274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2763" y="828675"/>
            <a:ext cx="3455987" cy="1944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© 2013 BDEW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1426F1-90BD-4040-BB62-4B56EE68F74F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ite </a:t>
            </a:r>
            <a:fld id="{A7B0E584-BE88-4E77-A877-883B1F5EA48F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6911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455000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52588" y="757238"/>
            <a:ext cx="10583863" cy="5954712"/>
          </a:xfrm>
          <a:ln/>
        </p:spPr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4670" y="7138620"/>
            <a:ext cx="6706238" cy="362775"/>
          </a:xfrm>
          <a:noFill/>
          <a:ln/>
        </p:spPr>
        <p:txBody>
          <a:bodyPr/>
          <a:lstStyle/>
          <a:p>
            <a:pPr eaLnBrk="1" hangingPunct="1"/>
            <a:r>
              <a:rPr lang="de-DE" dirty="0">
                <a:latin typeface="Arial" charset="0"/>
              </a:rPr>
              <a:t>Gas </a:t>
            </a:r>
            <a:r>
              <a:rPr lang="de-DE" b="0" i="0" dirty="0">
                <a:solidFill>
                  <a:srgbClr val="1E1E1E"/>
                </a:solidFill>
                <a:effectLst/>
                <a:latin typeface="Statis Sans"/>
              </a:rPr>
              <a:t>GP19-352223</a:t>
            </a:r>
          </a:p>
          <a:p>
            <a:pPr eaLnBrk="1" hangingPunct="1"/>
            <a:r>
              <a:rPr lang="de-DE" b="0" i="0" dirty="0">
                <a:solidFill>
                  <a:srgbClr val="1E1E1E"/>
                </a:solidFill>
                <a:effectLst/>
                <a:latin typeface="Statis Sans"/>
              </a:rPr>
              <a:t>Fernwärme GP19-35301</a:t>
            </a:r>
          </a:p>
          <a:p>
            <a:pPr eaLnBrk="1" hangingPunct="1"/>
            <a:r>
              <a:rPr lang="de-DE" b="0" i="0" dirty="0">
                <a:solidFill>
                  <a:srgbClr val="1E1E1E"/>
                </a:solidFill>
                <a:effectLst/>
                <a:latin typeface="Statis Sans"/>
              </a:rPr>
              <a:t>Heizöl </a:t>
            </a:r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GP19-20260072</a:t>
            </a:r>
            <a:r>
              <a:rPr lang="de-DE" dirty="0"/>
              <a:t> </a:t>
            </a:r>
            <a:endParaRPr lang="de-DE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53071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98438" y="1006475"/>
            <a:ext cx="4200525" cy="23637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20782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2763" y="828675"/>
            <a:ext cx="3455987" cy="1944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Autor | Präsentationstit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C099A32-33C4-4835-927A-20DC9F4606DE}" type="datetime1">
              <a:rPr lang="de-DE" smtClean="0"/>
              <a:t>05.12.20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© BDEW e.V. | Bundesverband der Energie- und Wasserwirtschaft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Folie </a:t>
            </a:r>
            <a:fld id="{6D4C9060-DEFA-4A83-8BDF-49E32732D5D6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8340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748910">
              <a:defRPr/>
            </a:pPr>
            <a:fld id="{A8E82307-2A96-4DA0-8C22-1C72A6608350}" type="slidenum">
              <a:rPr lang="de-DE">
                <a:solidFill>
                  <a:srgbClr val="000000"/>
                </a:solidFill>
                <a:latin typeface="Calibri"/>
                <a:cs typeface="Calibri"/>
              </a:rPr>
              <a:pPr defTabSz="748910">
                <a:defRPr/>
              </a:pPr>
              <a:t>3</a:t>
            </a:fld>
            <a:endParaRPr lang="de-DE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51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8938" y="927100"/>
            <a:ext cx="3865562" cy="2176463"/>
          </a:xfrm>
          <a:ln/>
        </p:spPr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41522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6075" y="900113"/>
            <a:ext cx="3749675" cy="21113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21289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6075" y="900113"/>
            <a:ext cx="3749675" cy="21113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/>
              <a:t>© 2013 BDEW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fld id="{F7E8F427-7C48-4CFE-94BB-8E1306FA7C32}" type="datetime1">
              <a:rPr lang="de-DE" smtClean="0"/>
              <a:t>05.12.2025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519921" y="6997063"/>
            <a:ext cx="4224057" cy="368265"/>
          </a:xfrm>
          <a:prstGeom prst="rect">
            <a:avLst/>
          </a:prstGeom>
        </p:spPr>
        <p:txBody>
          <a:bodyPr lIns="90782" tIns="45391" rIns="90782" bIns="45391"/>
          <a:lstStyle/>
          <a:p>
            <a:r>
              <a:rPr lang="de-DE"/>
              <a:t>Seite </a:t>
            </a:r>
            <a:fld id="{A7B0E584-BE88-4E77-A877-883B1F5EA48F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232158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5763" y="927100"/>
            <a:ext cx="3867150" cy="2176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154161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5763" y="927100"/>
            <a:ext cx="3867150" cy="2176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71045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5763" y="927100"/>
            <a:ext cx="3867150" cy="2176463"/>
          </a:xfrm>
          <a:ln/>
        </p:spPr>
      </p:sp>
      <p:sp>
        <p:nvSpPr>
          <p:cNvPr id="2969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84166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5763" y="927100"/>
            <a:ext cx="3867150" cy="2176463"/>
          </a:xfrm>
          <a:ln/>
        </p:spPr>
      </p:sp>
      <p:sp>
        <p:nvSpPr>
          <p:cNvPr id="2969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627710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2763" y="828675"/>
            <a:ext cx="3455987" cy="1944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© 2013 BDEW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0DA5A4-5A16-4002-AA68-AC4C25B83561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ite </a:t>
            </a:r>
            <a:fld id="{A7B0E584-BE88-4E77-A877-883B1F5EA48F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6911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690116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5763" y="927100"/>
            <a:ext cx="3867150" cy="2176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2948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2763" y="828675"/>
            <a:ext cx="3455987" cy="1944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© 2013 BDEW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2B0863-FCA0-402B-A23A-F1DEB96DD7BC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ite </a:t>
            </a:r>
            <a:fld id="{A7B0E584-BE88-4E77-A877-883B1F5EA48F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6911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6302212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610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12763" y="828675"/>
            <a:ext cx="3455987" cy="1944688"/>
          </a:xfrm>
          <a:ln/>
        </p:spPr>
      </p:sp>
      <p:sp>
        <p:nvSpPr>
          <p:cNvPr id="196611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>
              <a:latin typeface="Arial" panose="020B0604020202020204" pitchFamily="34" charset="0"/>
            </a:endParaRPr>
          </a:p>
        </p:txBody>
      </p:sp>
      <p:sp>
        <p:nvSpPr>
          <p:cNvPr id="196612" name="Kopfzeilenplatzhalter 3"/>
          <p:cNvSpPr>
            <a:spLocks noGrp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311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36338" indent="-283207" defTabSz="90311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32827" indent="-226565" defTabSz="90311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85958" indent="-226565" defTabSz="90311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39089" indent="-226565" defTabSz="90311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492220" indent="-226565" defTabSz="9031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45351" indent="-226565" defTabSz="9031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98482" indent="-226565" defTabSz="9031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51613" indent="-226565" defTabSz="9031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>
                <a:solidFill>
                  <a:srgbClr val="000000"/>
                </a:solidFill>
              </a:rPr>
              <a:t>© 2013 BDEW</a:t>
            </a:r>
          </a:p>
        </p:txBody>
      </p:sp>
      <p:sp>
        <p:nvSpPr>
          <p:cNvPr id="196613" name="Datumsplatzhalter 4"/>
          <p:cNvSpPr>
            <a:spLocks noGrp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311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36338" indent="-283207" defTabSz="90311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32827" indent="-226565" defTabSz="90311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85958" indent="-226565" defTabSz="90311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39089" indent="-226565" defTabSz="90311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492220" indent="-226565" defTabSz="9031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45351" indent="-226565" defTabSz="9031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98482" indent="-226565" defTabSz="9031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51613" indent="-226565" defTabSz="9031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67D52B3-AB56-4DAC-84A7-A7CC510CF4CF}" type="datetime1">
              <a:rPr lang="de-DE" altLang="de-DE" smtClean="0">
                <a:solidFill>
                  <a:srgbClr val="000000"/>
                </a:solidFill>
              </a:rPr>
              <a:t>05.12.2025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196614" name="Foliennummernplatzhalt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0"/>
            <a:ext cx="0" cy="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36338" indent="-283207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32827" indent="-22656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85958" indent="-22656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39089" indent="-22656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492220" indent="-2265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45351" indent="-2265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98482" indent="-2265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51613" indent="-2265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>
                <a:solidFill>
                  <a:srgbClr val="000000"/>
                </a:solidFill>
              </a:rPr>
              <a:t>Seite </a:t>
            </a:r>
            <a:fld id="{18FEE14B-7934-4AD6-A88F-B523622865E0}" type="slidenum">
              <a:rPr lang="de-DE" altLang="de-DE">
                <a:solidFill>
                  <a:srgbClr val="000000"/>
                </a:solidFill>
              </a:rPr>
              <a:pPr/>
              <a:t>38</a:t>
            </a:fld>
            <a:endParaRPr lang="de-DE" alt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1541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1212850"/>
            <a:ext cx="6616700" cy="3722688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3288" y="5260881"/>
            <a:ext cx="4986337" cy="3945262"/>
          </a:xfrm>
          <a:noFill/>
        </p:spPr>
        <p:txBody>
          <a:bodyPr/>
          <a:lstStyle/>
          <a:p>
            <a:pPr eaLnBrk="1" hangingPunct="1"/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1212850"/>
            <a:ext cx="6616700" cy="3722688"/>
          </a:xfrm>
          <a:ln/>
        </p:spPr>
      </p:sp>
      <p:sp>
        <p:nvSpPr>
          <p:cNvPr id="4014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3289" y="5260884"/>
            <a:ext cx="4986337" cy="394526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21216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97163" y="830263"/>
            <a:ext cx="4529137" cy="2549525"/>
          </a:xfrm>
          <a:ln/>
        </p:spPr>
      </p:sp>
      <p:sp>
        <p:nvSpPr>
          <p:cNvPr id="406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19285" y="3603185"/>
            <a:ext cx="7282707" cy="2702115"/>
          </a:xfr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2763" y="828675"/>
            <a:ext cx="3455987" cy="1944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© 2011 BDEW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C3AE98-0405-4EDA-88D7-A6DB9EEAB3F0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ite </a:t>
            </a:r>
            <a:fld id="{A7B0E584-BE88-4E77-A877-883B1F5EA48F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6911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073089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6762A1-3798-C20C-A62C-E1296ECFBD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530" name="Rectangle 2">
            <a:extLst>
              <a:ext uri="{FF2B5EF4-FFF2-40B4-BE49-F238E27FC236}">
                <a16:creationId xmlns:a16="http://schemas.microsoft.com/office/drawing/2014/main" id="{44BB0D9F-2F28-8795-A289-81FDDC65A92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95575" y="830263"/>
            <a:ext cx="4530725" cy="2549525"/>
          </a:xfrm>
          <a:ln/>
        </p:spPr>
      </p:sp>
      <p:sp>
        <p:nvSpPr>
          <p:cNvPr id="406531" name="Rectangle 3">
            <a:extLst>
              <a:ext uri="{FF2B5EF4-FFF2-40B4-BE49-F238E27FC236}">
                <a16:creationId xmlns:a16="http://schemas.microsoft.com/office/drawing/2014/main" id="{07EBDA1D-761E-D62C-F988-637432045C7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319285" y="3603187"/>
            <a:ext cx="7282707" cy="2702115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95801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2763" y="828675"/>
            <a:ext cx="3455987" cy="1944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© 2011 BDEW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CE6545-6287-47DC-9B27-F59A5005A3B8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ite </a:t>
            </a:r>
            <a:fld id="{A7B0E584-BE88-4E77-A877-883B1F5EA48F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6911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073089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2763" y="828675"/>
            <a:ext cx="3455987" cy="1944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© 2011 BDEW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5031BE-E6E9-4EB4-A85F-AAD034941AC8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ite </a:t>
            </a:r>
            <a:fld id="{A7B0E584-BE88-4E77-A877-883B1F5EA48F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6911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073089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80B651-FA77-43FF-A552-95A5EF8C9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255" y="2448371"/>
            <a:ext cx="6480719" cy="1224144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2047FA1-05E6-4914-9E1F-9171B3BD67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256" y="3888000"/>
            <a:ext cx="6480000" cy="648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  <a:lvl2pPr marL="345578" indent="0" algn="ctr">
              <a:buNone/>
              <a:defRPr sz="1512"/>
            </a:lvl2pPr>
            <a:lvl3pPr marL="691157" indent="0" algn="ctr">
              <a:buNone/>
              <a:defRPr sz="1360"/>
            </a:lvl3pPr>
            <a:lvl4pPr marL="1036735" indent="0" algn="ctr">
              <a:buNone/>
              <a:defRPr sz="1209"/>
            </a:lvl4pPr>
            <a:lvl5pPr marL="1382316" indent="0" algn="ctr">
              <a:buNone/>
              <a:defRPr sz="1209"/>
            </a:lvl5pPr>
            <a:lvl6pPr marL="1727893" indent="0" algn="ctr">
              <a:buNone/>
              <a:defRPr sz="1209"/>
            </a:lvl6pPr>
            <a:lvl7pPr marL="2073473" indent="0" algn="ctr">
              <a:buNone/>
              <a:defRPr sz="1209"/>
            </a:lvl7pPr>
            <a:lvl8pPr marL="2419051" indent="0" algn="ctr">
              <a:buNone/>
              <a:defRPr sz="1209"/>
            </a:lvl8pPr>
            <a:lvl9pPr marL="2764630" indent="0" algn="ctr">
              <a:buNone/>
              <a:defRPr sz="1209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2E03B2E-D379-4F2F-B8A8-821AC7247E6E}"/>
              </a:ext>
            </a:extLst>
          </p:cNvPr>
          <p:cNvSpPr/>
          <p:nvPr/>
        </p:nvSpPr>
        <p:spPr>
          <a:xfrm>
            <a:off x="143223" y="144115"/>
            <a:ext cx="8928000" cy="4896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36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31ADE1F-3339-4E57-AF5F-0ABBE14A423A}"/>
              </a:ext>
            </a:extLst>
          </p:cNvPr>
          <p:cNvSpPr txBox="1"/>
          <p:nvPr/>
        </p:nvSpPr>
        <p:spPr>
          <a:xfrm>
            <a:off x="431799" y="4680000"/>
            <a:ext cx="2880001" cy="216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de-DE" sz="800" dirty="0">
                <a:solidFill>
                  <a:schemeClr val="bg1"/>
                </a:solidFill>
              </a:rPr>
              <a:t>© BDEW Bundesverband der Energie- und Wasserwirtschaft e.V.</a:t>
            </a:r>
            <a:endParaRPr lang="de-DE" sz="1360" dirty="0">
              <a:solidFill>
                <a:schemeClr val="bg1"/>
              </a:solidFill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17CD9BC7-37D0-4A0E-8FB2-9BCBCFBC5EF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71990" y="576162"/>
            <a:ext cx="1800225" cy="1224000"/>
            <a:chOff x="7271990" y="576162"/>
            <a:chExt cx="1800225" cy="1224000"/>
          </a:xfrm>
        </p:grpSpPr>
        <p:sp>
          <p:nvSpPr>
            <p:cNvPr id="18" name="Rectangle 6">
              <a:extLst>
                <a:ext uri="{FF2B5EF4-FFF2-40B4-BE49-F238E27FC236}">
                  <a16:creationId xmlns:a16="http://schemas.microsoft.com/office/drawing/2014/main" id="{1540F4D0-AD26-4735-85E9-D32DE2B02D2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71990" y="576162"/>
              <a:ext cx="1800225" cy="1224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56D0F867-9788-47F3-A179-72ADC6D2F0A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7538786" y="868025"/>
              <a:ext cx="1244600" cy="646113"/>
              <a:chOff x="7538786" y="868025"/>
              <a:chExt cx="1244600" cy="646113"/>
            </a:xfrm>
          </p:grpSpPr>
          <p:sp>
            <p:nvSpPr>
              <p:cNvPr id="20" name="Freeform 38">
                <a:extLst>
                  <a:ext uri="{FF2B5EF4-FFF2-40B4-BE49-F238E27FC236}">
                    <a16:creationId xmlns:a16="http://schemas.microsoft.com/office/drawing/2014/main" id="{309168E1-DA15-4F73-BE20-CEAC7655EB4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1398250"/>
                <a:ext cx="1244600" cy="115888"/>
              </a:xfrm>
              <a:custGeom>
                <a:avLst/>
                <a:gdLst>
                  <a:gd name="T0" fmla="*/ 1559 w 1559"/>
                  <a:gd name="T1" fmla="*/ 104 h 146"/>
                  <a:gd name="T2" fmla="*/ 1471 w 1559"/>
                  <a:gd name="T3" fmla="*/ 48 h 146"/>
                  <a:gd name="T4" fmla="*/ 1472 w 1559"/>
                  <a:gd name="T5" fmla="*/ 114 h 146"/>
                  <a:gd name="T6" fmla="*/ 1518 w 1559"/>
                  <a:gd name="T7" fmla="*/ 114 h 146"/>
                  <a:gd name="T8" fmla="*/ 1433 w 1559"/>
                  <a:gd name="T9" fmla="*/ 74 h 146"/>
                  <a:gd name="T10" fmla="*/ 1431 w 1559"/>
                  <a:gd name="T11" fmla="*/ 92 h 146"/>
                  <a:gd name="T12" fmla="*/ 1332 w 1559"/>
                  <a:gd name="T13" fmla="*/ 75 h 146"/>
                  <a:gd name="T14" fmla="*/ 1332 w 1559"/>
                  <a:gd name="T15" fmla="*/ 75 h 146"/>
                  <a:gd name="T16" fmla="*/ 1304 w 1559"/>
                  <a:gd name="T17" fmla="*/ 2 h 146"/>
                  <a:gd name="T18" fmla="*/ 1303 w 1559"/>
                  <a:gd name="T19" fmla="*/ 108 h 146"/>
                  <a:gd name="T20" fmla="*/ 1232 w 1559"/>
                  <a:gd name="T21" fmla="*/ 51 h 146"/>
                  <a:gd name="T22" fmla="*/ 1231 w 1559"/>
                  <a:gd name="T23" fmla="*/ 115 h 146"/>
                  <a:gd name="T24" fmla="*/ 1265 w 1559"/>
                  <a:gd name="T25" fmla="*/ 80 h 146"/>
                  <a:gd name="T26" fmla="*/ 1145 w 1559"/>
                  <a:gd name="T27" fmla="*/ 11 h 146"/>
                  <a:gd name="T28" fmla="*/ 1061 w 1559"/>
                  <a:gd name="T29" fmla="*/ 92 h 146"/>
                  <a:gd name="T30" fmla="*/ 1044 w 1559"/>
                  <a:gd name="T31" fmla="*/ 37 h 146"/>
                  <a:gd name="T32" fmla="*/ 1008 w 1559"/>
                  <a:gd name="T33" fmla="*/ 56 h 146"/>
                  <a:gd name="T34" fmla="*/ 1051 w 1559"/>
                  <a:gd name="T35" fmla="*/ 54 h 146"/>
                  <a:gd name="T36" fmla="*/ 970 w 1559"/>
                  <a:gd name="T37" fmla="*/ 68 h 146"/>
                  <a:gd name="T38" fmla="*/ 989 w 1559"/>
                  <a:gd name="T39" fmla="*/ 108 h 146"/>
                  <a:gd name="T40" fmla="*/ 990 w 1559"/>
                  <a:gd name="T41" fmla="*/ 74 h 146"/>
                  <a:gd name="T42" fmla="*/ 906 w 1559"/>
                  <a:gd name="T43" fmla="*/ 57 h 146"/>
                  <a:gd name="T44" fmla="*/ 892 w 1559"/>
                  <a:gd name="T45" fmla="*/ 92 h 146"/>
                  <a:gd name="T46" fmla="*/ 911 w 1559"/>
                  <a:gd name="T47" fmla="*/ 91 h 146"/>
                  <a:gd name="T48" fmla="*/ 837 w 1559"/>
                  <a:gd name="T49" fmla="*/ 57 h 146"/>
                  <a:gd name="T50" fmla="*/ 823 w 1559"/>
                  <a:gd name="T51" fmla="*/ 92 h 146"/>
                  <a:gd name="T52" fmla="*/ 843 w 1559"/>
                  <a:gd name="T53" fmla="*/ 91 h 146"/>
                  <a:gd name="T54" fmla="*/ 749 w 1559"/>
                  <a:gd name="T55" fmla="*/ 80 h 146"/>
                  <a:gd name="T56" fmla="*/ 765 w 1559"/>
                  <a:gd name="T57" fmla="*/ 43 h 146"/>
                  <a:gd name="T58" fmla="*/ 749 w 1559"/>
                  <a:gd name="T59" fmla="*/ 61 h 146"/>
                  <a:gd name="T60" fmla="*/ 751 w 1559"/>
                  <a:gd name="T61" fmla="*/ 107 h 146"/>
                  <a:gd name="T62" fmla="*/ 667 w 1559"/>
                  <a:gd name="T63" fmla="*/ 61 h 146"/>
                  <a:gd name="T64" fmla="*/ 613 w 1559"/>
                  <a:gd name="T65" fmla="*/ 61 h 146"/>
                  <a:gd name="T66" fmla="*/ 597 w 1559"/>
                  <a:gd name="T67" fmla="*/ 114 h 146"/>
                  <a:gd name="T68" fmla="*/ 650 w 1559"/>
                  <a:gd name="T69" fmla="*/ 114 h 146"/>
                  <a:gd name="T70" fmla="*/ 512 w 1559"/>
                  <a:gd name="T71" fmla="*/ 104 h 146"/>
                  <a:gd name="T72" fmla="*/ 464 w 1559"/>
                  <a:gd name="T73" fmla="*/ 51 h 146"/>
                  <a:gd name="T74" fmla="*/ 462 w 1559"/>
                  <a:gd name="T75" fmla="*/ 115 h 146"/>
                  <a:gd name="T76" fmla="*/ 496 w 1559"/>
                  <a:gd name="T77" fmla="*/ 80 h 146"/>
                  <a:gd name="T78" fmla="*/ 393 w 1559"/>
                  <a:gd name="T79" fmla="*/ 38 h 146"/>
                  <a:gd name="T80" fmla="*/ 391 w 1559"/>
                  <a:gd name="T81" fmla="*/ 12 h 146"/>
                  <a:gd name="T82" fmla="*/ 326 w 1559"/>
                  <a:gd name="T83" fmla="*/ 75 h 146"/>
                  <a:gd name="T84" fmla="*/ 355 w 1559"/>
                  <a:gd name="T85" fmla="*/ 38 h 146"/>
                  <a:gd name="T86" fmla="*/ 353 w 1559"/>
                  <a:gd name="T87" fmla="*/ 103 h 146"/>
                  <a:gd name="T88" fmla="*/ 310 w 1559"/>
                  <a:gd name="T89" fmla="*/ 122 h 146"/>
                  <a:gd name="T90" fmla="*/ 373 w 1559"/>
                  <a:gd name="T91" fmla="*/ 56 h 146"/>
                  <a:gd name="T92" fmla="*/ 269 w 1559"/>
                  <a:gd name="T93" fmla="*/ 47 h 146"/>
                  <a:gd name="T94" fmla="*/ 270 w 1559"/>
                  <a:gd name="T95" fmla="*/ 114 h 146"/>
                  <a:gd name="T96" fmla="*/ 211 w 1559"/>
                  <a:gd name="T97" fmla="*/ 68 h 146"/>
                  <a:gd name="T98" fmla="*/ 198 w 1559"/>
                  <a:gd name="T99" fmla="*/ 36 h 146"/>
                  <a:gd name="T100" fmla="*/ 200 w 1559"/>
                  <a:gd name="T101" fmla="*/ 100 h 146"/>
                  <a:gd name="T102" fmla="*/ 148 w 1559"/>
                  <a:gd name="T103" fmla="*/ 62 h 146"/>
                  <a:gd name="T104" fmla="*/ 81 w 1559"/>
                  <a:gd name="T105" fmla="*/ 38 h 146"/>
                  <a:gd name="T106" fmla="*/ 119 w 1559"/>
                  <a:gd name="T107" fmla="*/ 54 h 146"/>
                  <a:gd name="T108" fmla="*/ 66 w 1559"/>
                  <a:gd name="T109" fmla="*/ 96 h 146"/>
                  <a:gd name="T110" fmla="*/ 21 w 1559"/>
                  <a:gd name="T111" fmla="*/ 52 h 146"/>
                  <a:gd name="T112" fmla="*/ 0 w 1559"/>
                  <a:gd name="T113" fmla="*/ 11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59" h="146">
                    <a:moveTo>
                      <a:pt x="1559" y="104"/>
                    </a:moveTo>
                    <a:cubicBezTo>
                      <a:pt x="1559" y="98"/>
                      <a:pt x="1556" y="92"/>
                      <a:pt x="1547" y="92"/>
                    </a:cubicBezTo>
                    <a:cubicBezTo>
                      <a:pt x="1539" y="92"/>
                      <a:pt x="1535" y="98"/>
                      <a:pt x="1535" y="104"/>
                    </a:cubicBezTo>
                    <a:cubicBezTo>
                      <a:pt x="1535" y="110"/>
                      <a:pt x="1539" y="116"/>
                      <a:pt x="1547" y="116"/>
                    </a:cubicBezTo>
                    <a:cubicBezTo>
                      <a:pt x="1556" y="116"/>
                      <a:pt x="1559" y="110"/>
                      <a:pt x="1559" y="104"/>
                    </a:cubicBezTo>
                    <a:close/>
                    <a:moveTo>
                      <a:pt x="1518" y="114"/>
                    </a:moveTo>
                    <a:lnTo>
                      <a:pt x="1518" y="62"/>
                    </a:lnTo>
                    <a:cubicBezTo>
                      <a:pt x="1518" y="55"/>
                      <a:pt x="1517" y="49"/>
                      <a:pt x="1514" y="45"/>
                    </a:cubicBezTo>
                    <a:cubicBezTo>
                      <a:pt x="1510" y="39"/>
                      <a:pt x="1504" y="36"/>
                      <a:pt x="1495" y="36"/>
                    </a:cubicBezTo>
                    <a:cubicBezTo>
                      <a:pt x="1485" y="36"/>
                      <a:pt x="1474" y="45"/>
                      <a:pt x="1471" y="48"/>
                    </a:cubicBezTo>
                    <a:cubicBezTo>
                      <a:pt x="1471" y="43"/>
                      <a:pt x="1470" y="38"/>
                      <a:pt x="1470" y="38"/>
                    </a:cubicBezTo>
                    <a:lnTo>
                      <a:pt x="1450" y="38"/>
                    </a:lnTo>
                    <a:cubicBezTo>
                      <a:pt x="1450" y="38"/>
                      <a:pt x="1451" y="47"/>
                      <a:pt x="1451" y="56"/>
                    </a:cubicBezTo>
                    <a:lnTo>
                      <a:pt x="1451" y="114"/>
                    </a:lnTo>
                    <a:lnTo>
                      <a:pt x="1472" y="114"/>
                    </a:lnTo>
                    <a:lnTo>
                      <a:pt x="1472" y="62"/>
                    </a:lnTo>
                    <a:cubicBezTo>
                      <a:pt x="1475" y="59"/>
                      <a:pt x="1482" y="54"/>
                      <a:pt x="1488" y="54"/>
                    </a:cubicBezTo>
                    <a:cubicBezTo>
                      <a:pt x="1493" y="54"/>
                      <a:pt x="1497" y="55"/>
                      <a:pt x="1497" y="64"/>
                    </a:cubicBezTo>
                    <a:lnTo>
                      <a:pt x="1497" y="114"/>
                    </a:lnTo>
                    <a:lnTo>
                      <a:pt x="1518" y="114"/>
                    </a:lnTo>
                    <a:close/>
                    <a:moveTo>
                      <a:pt x="1413" y="68"/>
                    </a:moveTo>
                    <a:lnTo>
                      <a:pt x="1389" y="68"/>
                    </a:lnTo>
                    <a:cubicBezTo>
                      <a:pt x="1389" y="62"/>
                      <a:pt x="1391" y="51"/>
                      <a:pt x="1400" y="51"/>
                    </a:cubicBezTo>
                    <a:cubicBezTo>
                      <a:pt x="1411" y="51"/>
                      <a:pt x="1413" y="62"/>
                      <a:pt x="1413" y="68"/>
                    </a:cubicBezTo>
                    <a:close/>
                    <a:moveTo>
                      <a:pt x="1433" y="74"/>
                    </a:moveTo>
                    <a:cubicBezTo>
                      <a:pt x="1433" y="56"/>
                      <a:pt x="1426" y="36"/>
                      <a:pt x="1400" y="36"/>
                    </a:cubicBezTo>
                    <a:cubicBezTo>
                      <a:pt x="1378" y="36"/>
                      <a:pt x="1367" y="56"/>
                      <a:pt x="1367" y="76"/>
                    </a:cubicBezTo>
                    <a:cubicBezTo>
                      <a:pt x="1367" y="90"/>
                      <a:pt x="1372" y="115"/>
                      <a:pt x="1399" y="115"/>
                    </a:cubicBezTo>
                    <a:cubicBezTo>
                      <a:pt x="1420" y="115"/>
                      <a:pt x="1432" y="108"/>
                      <a:pt x="1432" y="108"/>
                    </a:cubicBezTo>
                    <a:lnTo>
                      <a:pt x="1431" y="92"/>
                    </a:lnTo>
                    <a:cubicBezTo>
                      <a:pt x="1431" y="92"/>
                      <a:pt x="1416" y="100"/>
                      <a:pt x="1402" y="100"/>
                    </a:cubicBezTo>
                    <a:cubicBezTo>
                      <a:pt x="1393" y="100"/>
                      <a:pt x="1389" y="94"/>
                      <a:pt x="1389" y="80"/>
                    </a:cubicBezTo>
                    <a:lnTo>
                      <a:pt x="1433" y="80"/>
                    </a:lnTo>
                    <a:cubicBezTo>
                      <a:pt x="1433" y="80"/>
                      <a:pt x="1433" y="76"/>
                      <a:pt x="1433" y="74"/>
                    </a:cubicBezTo>
                    <a:moveTo>
                      <a:pt x="1332" y="75"/>
                    </a:moveTo>
                    <a:cubicBezTo>
                      <a:pt x="1332" y="93"/>
                      <a:pt x="1326" y="99"/>
                      <a:pt x="1319" y="99"/>
                    </a:cubicBezTo>
                    <a:cubicBezTo>
                      <a:pt x="1316" y="99"/>
                      <a:pt x="1310" y="97"/>
                      <a:pt x="1304" y="94"/>
                    </a:cubicBezTo>
                    <a:lnTo>
                      <a:pt x="1304" y="59"/>
                    </a:lnTo>
                    <a:cubicBezTo>
                      <a:pt x="1310" y="54"/>
                      <a:pt x="1316" y="53"/>
                      <a:pt x="1320" y="53"/>
                    </a:cubicBezTo>
                    <a:cubicBezTo>
                      <a:pt x="1330" y="53"/>
                      <a:pt x="1332" y="67"/>
                      <a:pt x="1332" y="75"/>
                    </a:cubicBezTo>
                    <a:close/>
                    <a:moveTo>
                      <a:pt x="1353" y="76"/>
                    </a:moveTo>
                    <a:cubicBezTo>
                      <a:pt x="1353" y="60"/>
                      <a:pt x="1349" y="36"/>
                      <a:pt x="1324" y="36"/>
                    </a:cubicBezTo>
                    <a:cubicBezTo>
                      <a:pt x="1315" y="36"/>
                      <a:pt x="1306" y="43"/>
                      <a:pt x="1304" y="44"/>
                    </a:cubicBezTo>
                    <a:cubicBezTo>
                      <a:pt x="1304" y="44"/>
                      <a:pt x="1304" y="39"/>
                      <a:pt x="1304" y="36"/>
                    </a:cubicBezTo>
                    <a:lnTo>
                      <a:pt x="1304" y="2"/>
                    </a:lnTo>
                    <a:lnTo>
                      <a:pt x="1284" y="4"/>
                    </a:lnTo>
                    <a:lnTo>
                      <a:pt x="1284" y="98"/>
                    </a:lnTo>
                    <a:cubicBezTo>
                      <a:pt x="1284" y="105"/>
                      <a:pt x="1283" y="114"/>
                      <a:pt x="1283" y="114"/>
                    </a:cubicBezTo>
                    <a:lnTo>
                      <a:pt x="1302" y="114"/>
                    </a:lnTo>
                    <a:cubicBezTo>
                      <a:pt x="1303" y="112"/>
                      <a:pt x="1303" y="109"/>
                      <a:pt x="1303" y="108"/>
                    </a:cubicBezTo>
                    <a:cubicBezTo>
                      <a:pt x="1304" y="109"/>
                      <a:pt x="1313" y="115"/>
                      <a:pt x="1324" y="115"/>
                    </a:cubicBezTo>
                    <a:cubicBezTo>
                      <a:pt x="1342" y="115"/>
                      <a:pt x="1353" y="98"/>
                      <a:pt x="1353" y="76"/>
                    </a:cubicBezTo>
                    <a:moveTo>
                      <a:pt x="1245" y="68"/>
                    </a:moveTo>
                    <a:lnTo>
                      <a:pt x="1221" y="68"/>
                    </a:lnTo>
                    <a:cubicBezTo>
                      <a:pt x="1221" y="62"/>
                      <a:pt x="1223" y="51"/>
                      <a:pt x="1232" y="51"/>
                    </a:cubicBezTo>
                    <a:cubicBezTo>
                      <a:pt x="1243" y="51"/>
                      <a:pt x="1245" y="62"/>
                      <a:pt x="1245" y="68"/>
                    </a:cubicBezTo>
                    <a:close/>
                    <a:moveTo>
                      <a:pt x="1265" y="74"/>
                    </a:moveTo>
                    <a:cubicBezTo>
                      <a:pt x="1265" y="56"/>
                      <a:pt x="1258" y="36"/>
                      <a:pt x="1232" y="36"/>
                    </a:cubicBezTo>
                    <a:cubicBezTo>
                      <a:pt x="1210" y="36"/>
                      <a:pt x="1199" y="56"/>
                      <a:pt x="1199" y="76"/>
                    </a:cubicBezTo>
                    <a:cubicBezTo>
                      <a:pt x="1199" y="90"/>
                      <a:pt x="1204" y="115"/>
                      <a:pt x="1231" y="115"/>
                    </a:cubicBezTo>
                    <a:cubicBezTo>
                      <a:pt x="1251" y="115"/>
                      <a:pt x="1264" y="108"/>
                      <a:pt x="1264" y="108"/>
                    </a:cubicBezTo>
                    <a:lnTo>
                      <a:pt x="1263" y="92"/>
                    </a:lnTo>
                    <a:cubicBezTo>
                      <a:pt x="1263" y="92"/>
                      <a:pt x="1248" y="100"/>
                      <a:pt x="1234" y="100"/>
                    </a:cubicBezTo>
                    <a:cubicBezTo>
                      <a:pt x="1225" y="100"/>
                      <a:pt x="1221" y="94"/>
                      <a:pt x="1221" y="80"/>
                    </a:cubicBezTo>
                    <a:lnTo>
                      <a:pt x="1265" y="80"/>
                    </a:lnTo>
                    <a:cubicBezTo>
                      <a:pt x="1265" y="80"/>
                      <a:pt x="1265" y="76"/>
                      <a:pt x="1265" y="74"/>
                    </a:cubicBezTo>
                    <a:moveTo>
                      <a:pt x="1188" y="114"/>
                    </a:moveTo>
                    <a:lnTo>
                      <a:pt x="1188" y="95"/>
                    </a:lnTo>
                    <a:lnTo>
                      <a:pt x="1145" y="95"/>
                    </a:lnTo>
                    <a:lnTo>
                      <a:pt x="1145" y="11"/>
                    </a:lnTo>
                    <a:lnTo>
                      <a:pt x="1124" y="11"/>
                    </a:lnTo>
                    <a:lnTo>
                      <a:pt x="1124" y="114"/>
                    </a:lnTo>
                    <a:lnTo>
                      <a:pt x="1188" y="114"/>
                    </a:lnTo>
                    <a:close/>
                    <a:moveTo>
                      <a:pt x="1073" y="104"/>
                    </a:moveTo>
                    <a:cubicBezTo>
                      <a:pt x="1073" y="98"/>
                      <a:pt x="1069" y="92"/>
                      <a:pt x="1061" y="92"/>
                    </a:cubicBezTo>
                    <a:cubicBezTo>
                      <a:pt x="1053" y="92"/>
                      <a:pt x="1048" y="98"/>
                      <a:pt x="1048" y="104"/>
                    </a:cubicBezTo>
                    <a:cubicBezTo>
                      <a:pt x="1048" y="110"/>
                      <a:pt x="1053" y="116"/>
                      <a:pt x="1061" y="116"/>
                    </a:cubicBezTo>
                    <a:cubicBezTo>
                      <a:pt x="1069" y="116"/>
                      <a:pt x="1073" y="110"/>
                      <a:pt x="1073" y="104"/>
                    </a:cubicBezTo>
                    <a:close/>
                    <a:moveTo>
                      <a:pt x="1053" y="38"/>
                    </a:moveTo>
                    <a:cubicBezTo>
                      <a:pt x="1053" y="38"/>
                      <a:pt x="1052" y="37"/>
                      <a:pt x="1044" y="37"/>
                    </a:cubicBezTo>
                    <a:cubicBezTo>
                      <a:pt x="1038" y="37"/>
                      <a:pt x="1032" y="42"/>
                      <a:pt x="1029" y="45"/>
                    </a:cubicBezTo>
                    <a:cubicBezTo>
                      <a:pt x="1029" y="46"/>
                      <a:pt x="1028" y="47"/>
                      <a:pt x="1028" y="47"/>
                    </a:cubicBezTo>
                    <a:cubicBezTo>
                      <a:pt x="1028" y="43"/>
                      <a:pt x="1027" y="38"/>
                      <a:pt x="1027" y="38"/>
                    </a:cubicBezTo>
                    <a:lnTo>
                      <a:pt x="1007" y="38"/>
                    </a:lnTo>
                    <a:cubicBezTo>
                      <a:pt x="1007" y="38"/>
                      <a:pt x="1008" y="47"/>
                      <a:pt x="1008" y="56"/>
                    </a:cubicBezTo>
                    <a:lnTo>
                      <a:pt x="1008" y="114"/>
                    </a:lnTo>
                    <a:lnTo>
                      <a:pt x="1029" y="114"/>
                    </a:lnTo>
                    <a:lnTo>
                      <a:pt x="1029" y="60"/>
                    </a:lnTo>
                    <a:cubicBezTo>
                      <a:pt x="1034" y="56"/>
                      <a:pt x="1039" y="53"/>
                      <a:pt x="1041" y="53"/>
                    </a:cubicBezTo>
                    <a:cubicBezTo>
                      <a:pt x="1047" y="53"/>
                      <a:pt x="1051" y="54"/>
                      <a:pt x="1051" y="54"/>
                    </a:cubicBezTo>
                    <a:lnTo>
                      <a:pt x="1053" y="38"/>
                    </a:lnTo>
                    <a:close/>
                    <a:moveTo>
                      <a:pt x="970" y="68"/>
                    </a:moveTo>
                    <a:lnTo>
                      <a:pt x="946" y="68"/>
                    </a:lnTo>
                    <a:cubicBezTo>
                      <a:pt x="946" y="62"/>
                      <a:pt x="948" y="51"/>
                      <a:pt x="958" y="51"/>
                    </a:cubicBezTo>
                    <a:cubicBezTo>
                      <a:pt x="968" y="51"/>
                      <a:pt x="970" y="62"/>
                      <a:pt x="970" y="68"/>
                    </a:cubicBezTo>
                    <a:close/>
                    <a:moveTo>
                      <a:pt x="990" y="74"/>
                    </a:moveTo>
                    <a:cubicBezTo>
                      <a:pt x="990" y="56"/>
                      <a:pt x="983" y="36"/>
                      <a:pt x="958" y="36"/>
                    </a:cubicBezTo>
                    <a:cubicBezTo>
                      <a:pt x="935" y="36"/>
                      <a:pt x="925" y="56"/>
                      <a:pt x="925" y="76"/>
                    </a:cubicBezTo>
                    <a:cubicBezTo>
                      <a:pt x="925" y="90"/>
                      <a:pt x="929" y="115"/>
                      <a:pt x="956" y="115"/>
                    </a:cubicBezTo>
                    <a:cubicBezTo>
                      <a:pt x="977" y="115"/>
                      <a:pt x="989" y="108"/>
                      <a:pt x="989" y="108"/>
                    </a:cubicBezTo>
                    <a:lnTo>
                      <a:pt x="988" y="92"/>
                    </a:lnTo>
                    <a:cubicBezTo>
                      <a:pt x="988" y="92"/>
                      <a:pt x="974" y="100"/>
                      <a:pt x="960" y="100"/>
                    </a:cubicBezTo>
                    <a:cubicBezTo>
                      <a:pt x="951" y="100"/>
                      <a:pt x="946" y="94"/>
                      <a:pt x="946" y="80"/>
                    </a:cubicBezTo>
                    <a:lnTo>
                      <a:pt x="990" y="80"/>
                    </a:lnTo>
                    <a:cubicBezTo>
                      <a:pt x="990" y="80"/>
                      <a:pt x="990" y="76"/>
                      <a:pt x="990" y="74"/>
                    </a:cubicBezTo>
                    <a:moveTo>
                      <a:pt x="911" y="91"/>
                    </a:moveTo>
                    <a:cubicBezTo>
                      <a:pt x="911" y="73"/>
                      <a:pt x="894" y="70"/>
                      <a:pt x="882" y="64"/>
                    </a:cubicBezTo>
                    <a:cubicBezTo>
                      <a:pt x="879" y="63"/>
                      <a:pt x="876" y="61"/>
                      <a:pt x="876" y="58"/>
                    </a:cubicBezTo>
                    <a:cubicBezTo>
                      <a:pt x="876" y="56"/>
                      <a:pt x="878" y="52"/>
                      <a:pt x="884" y="52"/>
                    </a:cubicBezTo>
                    <a:cubicBezTo>
                      <a:pt x="894" y="52"/>
                      <a:pt x="906" y="57"/>
                      <a:pt x="906" y="57"/>
                    </a:cubicBezTo>
                    <a:lnTo>
                      <a:pt x="907" y="40"/>
                    </a:lnTo>
                    <a:cubicBezTo>
                      <a:pt x="907" y="40"/>
                      <a:pt x="897" y="36"/>
                      <a:pt x="885" y="36"/>
                    </a:cubicBezTo>
                    <a:cubicBezTo>
                      <a:pt x="870" y="36"/>
                      <a:pt x="857" y="44"/>
                      <a:pt x="857" y="60"/>
                    </a:cubicBezTo>
                    <a:cubicBezTo>
                      <a:pt x="857" y="77"/>
                      <a:pt x="874" y="80"/>
                      <a:pt x="885" y="85"/>
                    </a:cubicBezTo>
                    <a:cubicBezTo>
                      <a:pt x="889" y="87"/>
                      <a:pt x="892" y="89"/>
                      <a:pt x="892" y="92"/>
                    </a:cubicBezTo>
                    <a:cubicBezTo>
                      <a:pt x="892" y="96"/>
                      <a:pt x="888" y="99"/>
                      <a:pt x="883" y="99"/>
                    </a:cubicBezTo>
                    <a:cubicBezTo>
                      <a:pt x="872" y="99"/>
                      <a:pt x="857" y="91"/>
                      <a:pt x="857" y="91"/>
                    </a:cubicBezTo>
                    <a:lnTo>
                      <a:pt x="856" y="110"/>
                    </a:lnTo>
                    <a:cubicBezTo>
                      <a:pt x="856" y="110"/>
                      <a:pt x="869" y="116"/>
                      <a:pt x="883" y="116"/>
                    </a:cubicBezTo>
                    <a:cubicBezTo>
                      <a:pt x="898" y="116"/>
                      <a:pt x="911" y="108"/>
                      <a:pt x="911" y="91"/>
                    </a:cubicBezTo>
                    <a:close/>
                    <a:moveTo>
                      <a:pt x="843" y="91"/>
                    </a:moveTo>
                    <a:cubicBezTo>
                      <a:pt x="843" y="73"/>
                      <a:pt x="826" y="70"/>
                      <a:pt x="813" y="64"/>
                    </a:cubicBezTo>
                    <a:cubicBezTo>
                      <a:pt x="810" y="63"/>
                      <a:pt x="807" y="61"/>
                      <a:pt x="807" y="58"/>
                    </a:cubicBezTo>
                    <a:cubicBezTo>
                      <a:pt x="807" y="56"/>
                      <a:pt x="809" y="52"/>
                      <a:pt x="815" y="52"/>
                    </a:cubicBezTo>
                    <a:cubicBezTo>
                      <a:pt x="825" y="52"/>
                      <a:pt x="837" y="57"/>
                      <a:pt x="837" y="57"/>
                    </a:cubicBezTo>
                    <a:lnTo>
                      <a:pt x="838" y="40"/>
                    </a:lnTo>
                    <a:cubicBezTo>
                      <a:pt x="838" y="40"/>
                      <a:pt x="828" y="36"/>
                      <a:pt x="816" y="36"/>
                    </a:cubicBezTo>
                    <a:cubicBezTo>
                      <a:pt x="801" y="36"/>
                      <a:pt x="788" y="44"/>
                      <a:pt x="788" y="60"/>
                    </a:cubicBezTo>
                    <a:cubicBezTo>
                      <a:pt x="788" y="77"/>
                      <a:pt x="805" y="80"/>
                      <a:pt x="817" y="85"/>
                    </a:cubicBezTo>
                    <a:cubicBezTo>
                      <a:pt x="820" y="87"/>
                      <a:pt x="823" y="89"/>
                      <a:pt x="823" y="92"/>
                    </a:cubicBezTo>
                    <a:cubicBezTo>
                      <a:pt x="823" y="96"/>
                      <a:pt x="819" y="99"/>
                      <a:pt x="815" y="99"/>
                    </a:cubicBezTo>
                    <a:cubicBezTo>
                      <a:pt x="803" y="99"/>
                      <a:pt x="788" y="91"/>
                      <a:pt x="788" y="91"/>
                    </a:cubicBezTo>
                    <a:lnTo>
                      <a:pt x="787" y="110"/>
                    </a:lnTo>
                    <a:cubicBezTo>
                      <a:pt x="787" y="110"/>
                      <a:pt x="800" y="116"/>
                      <a:pt x="814" y="116"/>
                    </a:cubicBezTo>
                    <a:cubicBezTo>
                      <a:pt x="829" y="116"/>
                      <a:pt x="843" y="108"/>
                      <a:pt x="843" y="91"/>
                    </a:cubicBezTo>
                    <a:close/>
                    <a:moveTo>
                      <a:pt x="749" y="94"/>
                    </a:moveTo>
                    <a:cubicBezTo>
                      <a:pt x="747" y="96"/>
                      <a:pt x="742" y="100"/>
                      <a:pt x="736" y="100"/>
                    </a:cubicBezTo>
                    <a:cubicBezTo>
                      <a:pt x="731" y="100"/>
                      <a:pt x="729" y="95"/>
                      <a:pt x="729" y="91"/>
                    </a:cubicBezTo>
                    <a:cubicBezTo>
                      <a:pt x="729" y="89"/>
                      <a:pt x="730" y="87"/>
                      <a:pt x="732" y="85"/>
                    </a:cubicBezTo>
                    <a:cubicBezTo>
                      <a:pt x="736" y="81"/>
                      <a:pt x="746" y="80"/>
                      <a:pt x="749" y="80"/>
                    </a:cubicBezTo>
                    <a:lnTo>
                      <a:pt x="749" y="94"/>
                    </a:lnTo>
                    <a:close/>
                    <a:moveTo>
                      <a:pt x="771" y="114"/>
                    </a:moveTo>
                    <a:cubicBezTo>
                      <a:pt x="771" y="114"/>
                      <a:pt x="770" y="107"/>
                      <a:pt x="770" y="98"/>
                    </a:cubicBezTo>
                    <a:lnTo>
                      <a:pt x="770" y="62"/>
                    </a:lnTo>
                    <a:cubicBezTo>
                      <a:pt x="770" y="54"/>
                      <a:pt x="769" y="48"/>
                      <a:pt x="765" y="43"/>
                    </a:cubicBezTo>
                    <a:cubicBezTo>
                      <a:pt x="761" y="39"/>
                      <a:pt x="755" y="36"/>
                      <a:pt x="745" y="36"/>
                    </a:cubicBezTo>
                    <a:cubicBezTo>
                      <a:pt x="729" y="36"/>
                      <a:pt x="714" y="43"/>
                      <a:pt x="714" y="43"/>
                    </a:cubicBezTo>
                    <a:lnTo>
                      <a:pt x="715" y="59"/>
                    </a:lnTo>
                    <a:cubicBezTo>
                      <a:pt x="720" y="56"/>
                      <a:pt x="731" y="52"/>
                      <a:pt x="741" y="52"/>
                    </a:cubicBezTo>
                    <a:cubicBezTo>
                      <a:pt x="747" y="52"/>
                      <a:pt x="749" y="55"/>
                      <a:pt x="749" y="61"/>
                    </a:cubicBezTo>
                    <a:lnTo>
                      <a:pt x="749" y="69"/>
                    </a:lnTo>
                    <a:cubicBezTo>
                      <a:pt x="740" y="69"/>
                      <a:pt x="725" y="70"/>
                      <a:pt x="716" y="77"/>
                    </a:cubicBezTo>
                    <a:cubicBezTo>
                      <a:pt x="711" y="81"/>
                      <a:pt x="709" y="85"/>
                      <a:pt x="709" y="92"/>
                    </a:cubicBezTo>
                    <a:cubicBezTo>
                      <a:pt x="709" y="102"/>
                      <a:pt x="714" y="115"/>
                      <a:pt x="730" y="115"/>
                    </a:cubicBezTo>
                    <a:cubicBezTo>
                      <a:pt x="741" y="115"/>
                      <a:pt x="751" y="107"/>
                      <a:pt x="751" y="107"/>
                    </a:cubicBezTo>
                    <a:cubicBezTo>
                      <a:pt x="751" y="110"/>
                      <a:pt x="751" y="114"/>
                      <a:pt x="751" y="114"/>
                    </a:cubicBezTo>
                    <a:lnTo>
                      <a:pt x="771" y="114"/>
                    </a:lnTo>
                    <a:close/>
                    <a:moveTo>
                      <a:pt x="701" y="12"/>
                    </a:moveTo>
                    <a:lnTo>
                      <a:pt x="679" y="11"/>
                    </a:lnTo>
                    <a:lnTo>
                      <a:pt x="667" y="61"/>
                    </a:lnTo>
                    <a:cubicBezTo>
                      <a:pt x="665" y="68"/>
                      <a:pt x="663" y="83"/>
                      <a:pt x="662" y="86"/>
                    </a:cubicBezTo>
                    <a:cubicBezTo>
                      <a:pt x="662" y="83"/>
                      <a:pt x="659" y="68"/>
                      <a:pt x="658" y="61"/>
                    </a:cubicBezTo>
                    <a:lnTo>
                      <a:pt x="646" y="11"/>
                    </a:lnTo>
                    <a:lnTo>
                      <a:pt x="624" y="11"/>
                    </a:lnTo>
                    <a:lnTo>
                      <a:pt x="613" y="61"/>
                    </a:lnTo>
                    <a:cubicBezTo>
                      <a:pt x="611" y="68"/>
                      <a:pt x="609" y="82"/>
                      <a:pt x="608" y="85"/>
                    </a:cubicBezTo>
                    <a:cubicBezTo>
                      <a:pt x="608" y="82"/>
                      <a:pt x="605" y="68"/>
                      <a:pt x="604" y="61"/>
                    </a:cubicBezTo>
                    <a:lnTo>
                      <a:pt x="592" y="10"/>
                    </a:lnTo>
                    <a:lnTo>
                      <a:pt x="570" y="11"/>
                    </a:lnTo>
                    <a:lnTo>
                      <a:pt x="597" y="114"/>
                    </a:lnTo>
                    <a:lnTo>
                      <a:pt x="619" y="114"/>
                    </a:lnTo>
                    <a:lnTo>
                      <a:pt x="630" y="67"/>
                    </a:lnTo>
                    <a:cubicBezTo>
                      <a:pt x="631" y="59"/>
                      <a:pt x="635" y="40"/>
                      <a:pt x="635" y="40"/>
                    </a:cubicBezTo>
                    <a:cubicBezTo>
                      <a:pt x="635" y="40"/>
                      <a:pt x="638" y="59"/>
                      <a:pt x="640" y="67"/>
                    </a:cubicBezTo>
                    <a:lnTo>
                      <a:pt x="650" y="114"/>
                    </a:lnTo>
                    <a:lnTo>
                      <a:pt x="673" y="114"/>
                    </a:lnTo>
                    <a:lnTo>
                      <a:pt x="701" y="12"/>
                    </a:lnTo>
                    <a:close/>
                    <a:moveTo>
                      <a:pt x="537" y="104"/>
                    </a:moveTo>
                    <a:cubicBezTo>
                      <a:pt x="537" y="98"/>
                      <a:pt x="533" y="92"/>
                      <a:pt x="525" y="92"/>
                    </a:cubicBezTo>
                    <a:cubicBezTo>
                      <a:pt x="516" y="92"/>
                      <a:pt x="512" y="98"/>
                      <a:pt x="512" y="104"/>
                    </a:cubicBezTo>
                    <a:cubicBezTo>
                      <a:pt x="512" y="110"/>
                      <a:pt x="516" y="116"/>
                      <a:pt x="525" y="116"/>
                    </a:cubicBezTo>
                    <a:cubicBezTo>
                      <a:pt x="533" y="116"/>
                      <a:pt x="537" y="110"/>
                      <a:pt x="537" y="104"/>
                    </a:cubicBezTo>
                    <a:close/>
                    <a:moveTo>
                      <a:pt x="476" y="68"/>
                    </a:moveTo>
                    <a:lnTo>
                      <a:pt x="452" y="68"/>
                    </a:lnTo>
                    <a:cubicBezTo>
                      <a:pt x="452" y="62"/>
                      <a:pt x="454" y="51"/>
                      <a:pt x="464" y="51"/>
                    </a:cubicBezTo>
                    <a:cubicBezTo>
                      <a:pt x="474" y="51"/>
                      <a:pt x="476" y="62"/>
                      <a:pt x="476" y="68"/>
                    </a:cubicBezTo>
                    <a:moveTo>
                      <a:pt x="496" y="74"/>
                    </a:moveTo>
                    <a:cubicBezTo>
                      <a:pt x="496" y="56"/>
                      <a:pt x="489" y="36"/>
                      <a:pt x="464" y="36"/>
                    </a:cubicBezTo>
                    <a:cubicBezTo>
                      <a:pt x="441" y="36"/>
                      <a:pt x="431" y="56"/>
                      <a:pt x="431" y="76"/>
                    </a:cubicBezTo>
                    <a:cubicBezTo>
                      <a:pt x="431" y="90"/>
                      <a:pt x="435" y="115"/>
                      <a:pt x="462" y="115"/>
                    </a:cubicBezTo>
                    <a:cubicBezTo>
                      <a:pt x="483" y="115"/>
                      <a:pt x="495" y="108"/>
                      <a:pt x="495" y="108"/>
                    </a:cubicBezTo>
                    <a:lnTo>
                      <a:pt x="494" y="92"/>
                    </a:lnTo>
                    <a:cubicBezTo>
                      <a:pt x="494" y="92"/>
                      <a:pt x="480" y="100"/>
                      <a:pt x="466" y="100"/>
                    </a:cubicBezTo>
                    <a:cubicBezTo>
                      <a:pt x="457" y="100"/>
                      <a:pt x="452" y="94"/>
                      <a:pt x="452" y="80"/>
                    </a:cubicBezTo>
                    <a:lnTo>
                      <a:pt x="496" y="80"/>
                    </a:lnTo>
                    <a:cubicBezTo>
                      <a:pt x="496" y="80"/>
                      <a:pt x="496" y="76"/>
                      <a:pt x="496" y="74"/>
                    </a:cubicBezTo>
                    <a:moveTo>
                      <a:pt x="413" y="114"/>
                    </a:moveTo>
                    <a:lnTo>
                      <a:pt x="413" y="54"/>
                    </a:lnTo>
                    <a:cubicBezTo>
                      <a:pt x="413" y="48"/>
                      <a:pt x="412" y="38"/>
                      <a:pt x="412" y="38"/>
                    </a:cubicBezTo>
                    <a:lnTo>
                      <a:pt x="393" y="38"/>
                    </a:lnTo>
                    <a:lnTo>
                      <a:pt x="393" y="114"/>
                    </a:lnTo>
                    <a:lnTo>
                      <a:pt x="413" y="114"/>
                    </a:lnTo>
                    <a:close/>
                    <a:moveTo>
                      <a:pt x="416" y="12"/>
                    </a:moveTo>
                    <a:cubicBezTo>
                      <a:pt x="416" y="6"/>
                      <a:pt x="411" y="0"/>
                      <a:pt x="403" y="0"/>
                    </a:cubicBezTo>
                    <a:cubicBezTo>
                      <a:pt x="395" y="0"/>
                      <a:pt x="391" y="6"/>
                      <a:pt x="391" y="12"/>
                    </a:cubicBezTo>
                    <a:cubicBezTo>
                      <a:pt x="391" y="18"/>
                      <a:pt x="395" y="24"/>
                      <a:pt x="403" y="24"/>
                    </a:cubicBezTo>
                    <a:cubicBezTo>
                      <a:pt x="411" y="24"/>
                      <a:pt x="416" y="18"/>
                      <a:pt x="416" y="12"/>
                    </a:cubicBezTo>
                    <a:close/>
                    <a:moveTo>
                      <a:pt x="353" y="88"/>
                    </a:moveTo>
                    <a:cubicBezTo>
                      <a:pt x="347" y="95"/>
                      <a:pt x="341" y="97"/>
                      <a:pt x="337" y="97"/>
                    </a:cubicBezTo>
                    <a:cubicBezTo>
                      <a:pt x="328" y="97"/>
                      <a:pt x="326" y="83"/>
                      <a:pt x="326" y="75"/>
                    </a:cubicBezTo>
                    <a:cubicBezTo>
                      <a:pt x="326" y="66"/>
                      <a:pt x="327" y="53"/>
                      <a:pt x="339" y="53"/>
                    </a:cubicBezTo>
                    <a:cubicBezTo>
                      <a:pt x="343" y="53"/>
                      <a:pt x="347" y="54"/>
                      <a:pt x="353" y="57"/>
                    </a:cubicBezTo>
                    <a:lnTo>
                      <a:pt x="353" y="88"/>
                    </a:lnTo>
                    <a:close/>
                    <a:moveTo>
                      <a:pt x="375" y="38"/>
                    </a:moveTo>
                    <a:lnTo>
                      <a:pt x="355" y="38"/>
                    </a:lnTo>
                    <a:cubicBezTo>
                      <a:pt x="355" y="38"/>
                      <a:pt x="354" y="40"/>
                      <a:pt x="354" y="42"/>
                    </a:cubicBezTo>
                    <a:cubicBezTo>
                      <a:pt x="352" y="41"/>
                      <a:pt x="345" y="36"/>
                      <a:pt x="336" y="36"/>
                    </a:cubicBezTo>
                    <a:cubicBezTo>
                      <a:pt x="315" y="36"/>
                      <a:pt x="305" y="53"/>
                      <a:pt x="305" y="75"/>
                    </a:cubicBezTo>
                    <a:cubicBezTo>
                      <a:pt x="305" y="90"/>
                      <a:pt x="310" y="114"/>
                      <a:pt x="332" y="114"/>
                    </a:cubicBezTo>
                    <a:cubicBezTo>
                      <a:pt x="344" y="114"/>
                      <a:pt x="352" y="105"/>
                      <a:pt x="353" y="103"/>
                    </a:cubicBezTo>
                    <a:cubicBezTo>
                      <a:pt x="353" y="103"/>
                      <a:pt x="353" y="108"/>
                      <a:pt x="353" y="110"/>
                    </a:cubicBezTo>
                    <a:lnTo>
                      <a:pt x="353" y="115"/>
                    </a:lnTo>
                    <a:cubicBezTo>
                      <a:pt x="353" y="117"/>
                      <a:pt x="353" y="119"/>
                      <a:pt x="352" y="121"/>
                    </a:cubicBezTo>
                    <a:cubicBezTo>
                      <a:pt x="351" y="125"/>
                      <a:pt x="347" y="128"/>
                      <a:pt x="338" y="128"/>
                    </a:cubicBezTo>
                    <a:cubicBezTo>
                      <a:pt x="323" y="128"/>
                      <a:pt x="310" y="122"/>
                      <a:pt x="310" y="122"/>
                    </a:cubicBezTo>
                    <a:lnTo>
                      <a:pt x="309" y="140"/>
                    </a:lnTo>
                    <a:cubicBezTo>
                      <a:pt x="309" y="140"/>
                      <a:pt x="320" y="146"/>
                      <a:pt x="338" y="146"/>
                    </a:cubicBezTo>
                    <a:cubicBezTo>
                      <a:pt x="357" y="146"/>
                      <a:pt x="369" y="139"/>
                      <a:pt x="373" y="125"/>
                    </a:cubicBezTo>
                    <a:cubicBezTo>
                      <a:pt x="373" y="122"/>
                      <a:pt x="373" y="116"/>
                      <a:pt x="373" y="112"/>
                    </a:cubicBezTo>
                    <a:lnTo>
                      <a:pt x="373" y="56"/>
                    </a:lnTo>
                    <a:cubicBezTo>
                      <a:pt x="373" y="47"/>
                      <a:pt x="375" y="38"/>
                      <a:pt x="375" y="38"/>
                    </a:cubicBezTo>
                    <a:moveTo>
                      <a:pt x="294" y="38"/>
                    </a:moveTo>
                    <a:cubicBezTo>
                      <a:pt x="294" y="38"/>
                      <a:pt x="293" y="37"/>
                      <a:pt x="285" y="37"/>
                    </a:cubicBezTo>
                    <a:cubicBezTo>
                      <a:pt x="279" y="37"/>
                      <a:pt x="273" y="42"/>
                      <a:pt x="270" y="45"/>
                    </a:cubicBezTo>
                    <a:cubicBezTo>
                      <a:pt x="270" y="46"/>
                      <a:pt x="269" y="47"/>
                      <a:pt x="269" y="47"/>
                    </a:cubicBezTo>
                    <a:cubicBezTo>
                      <a:pt x="269" y="43"/>
                      <a:pt x="268" y="38"/>
                      <a:pt x="268" y="38"/>
                    </a:cubicBezTo>
                    <a:lnTo>
                      <a:pt x="248" y="38"/>
                    </a:lnTo>
                    <a:cubicBezTo>
                      <a:pt x="248" y="38"/>
                      <a:pt x="249" y="47"/>
                      <a:pt x="249" y="56"/>
                    </a:cubicBezTo>
                    <a:lnTo>
                      <a:pt x="249" y="114"/>
                    </a:lnTo>
                    <a:lnTo>
                      <a:pt x="270" y="114"/>
                    </a:lnTo>
                    <a:lnTo>
                      <a:pt x="270" y="60"/>
                    </a:lnTo>
                    <a:cubicBezTo>
                      <a:pt x="275" y="56"/>
                      <a:pt x="279" y="53"/>
                      <a:pt x="282" y="53"/>
                    </a:cubicBezTo>
                    <a:cubicBezTo>
                      <a:pt x="288" y="53"/>
                      <a:pt x="292" y="54"/>
                      <a:pt x="292" y="54"/>
                    </a:cubicBezTo>
                    <a:lnTo>
                      <a:pt x="294" y="38"/>
                    </a:lnTo>
                    <a:close/>
                    <a:moveTo>
                      <a:pt x="211" y="68"/>
                    </a:moveTo>
                    <a:lnTo>
                      <a:pt x="187" y="68"/>
                    </a:lnTo>
                    <a:cubicBezTo>
                      <a:pt x="187" y="62"/>
                      <a:pt x="189" y="51"/>
                      <a:pt x="198" y="51"/>
                    </a:cubicBezTo>
                    <a:cubicBezTo>
                      <a:pt x="209" y="51"/>
                      <a:pt x="211" y="62"/>
                      <a:pt x="211" y="68"/>
                    </a:cubicBezTo>
                    <a:moveTo>
                      <a:pt x="231" y="74"/>
                    </a:moveTo>
                    <a:cubicBezTo>
                      <a:pt x="231" y="56"/>
                      <a:pt x="224" y="36"/>
                      <a:pt x="198" y="36"/>
                    </a:cubicBezTo>
                    <a:cubicBezTo>
                      <a:pt x="176" y="36"/>
                      <a:pt x="165" y="56"/>
                      <a:pt x="165" y="76"/>
                    </a:cubicBezTo>
                    <a:cubicBezTo>
                      <a:pt x="165" y="90"/>
                      <a:pt x="170" y="115"/>
                      <a:pt x="197" y="115"/>
                    </a:cubicBezTo>
                    <a:cubicBezTo>
                      <a:pt x="218" y="115"/>
                      <a:pt x="230" y="108"/>
                      <a:pt x="230" y="108"/>
                    </a:cubicBezTo>
                    <a:lnTo>
                      <a:pt x="229" y="92"/>
                    </a:lnTo>
                    <a:cubicBezTo>
                      <a:pt x="229" y="92"/>
                      <a:pt x="214" y="100"/>
                      <a:pt x="200" y="100"/>
                    </a:cubicBezTo>
                    <a:cubicBezTo>
                      <a:pt x="191" y="100"/>
                      <a:pt x="187" y="94"/>
                      <a:pt x="187" y="80"/>
                    </a:cubicBezTo>
                    <a:lnTo>
                      <a:pt x="231" y="80"/>
                    </a:lnTo>
                    <a:cubicBezTo>
                      <a:pt x="231" y="80"/>
                      <a:pt x="231" y="76"/>
                      <a:pt x="231" y="74"/>
                    </a:cubicBezTo>
                    <a:moveTo>
                      <a:pt x="148" y="114"/>
                    </a:moveTo>
                    <a:lnTo>
                      <a:pt x="148" y="62"/>
                    </a:lnTo>
                    <a:cubicBezTo>
                      <a:pt x="148" y="55"/>
                      <a:pt x="147" y="49"/>
                      <a:pt x="144" y="45"/>
                    </a:cubicBezTo>
                    <a:cubicBezTo>
                      <a:pt x="141" y="39"/>
                      <a:pt x="135" y="36"/>
                      <a:pt x="126" y="36"/>
                    </a:cubicBezTo>
                    <a:cubicBezTo>
                      <a:pt x="115" y="36"/>
                      <a:pt x="104" y="45"/>
                      <a:pt x="101" y="48"/>
                    </a:cubicBezTo>
                    <a:cubicBezTo>
                      <a:pt x="101" y="43"/>
                      <a:pt x="101" y="38"/>
                      <a:pt x="101" y="38"/>
                    </a:cubicBezTo>
                    <a:lnTo>
                      <a:pt x="81" y="38"/>
                    </a:lnTo>
                    <a:cubicBezTo>
                      <a:pt x="81" y="38"/>
                      <a:pt x="82" y="47"/>
                      <a:pt x="82" y="56"/>
                    </a:cubicBezTo>
                    <a:lnTo>
                      <a:pt x="82" y="114"/>
                    </a:lnTo>
                    <a:lnTo>
                      <a:pt x="102" y="114"/>
                    </a:lnTo>
                    <a:lnTo>
                      <a:pt x="102" y="62"/>
                    </a:lnTo>
                    <a:cubicBezTo>
                      <a:pt x="105" y="59"/>
                      <a:pt x="112" y="54"/>
                      <a:pt x="119" y="54"/>
                    </a:cubicBezTo>
                    <a:cubicBezTo>
                      <a:pt x="124" y="54"/>
                      <a:pt x="128" y="55"/>
                      <a:pt x="128" y="64"/>
                    </a:cubicBezTo>
                    <a:lnTo>
                      <a:pt x="128" y="114"/>
                    </a:lnTo>
                    <a:lnTo>
                      <a:pt x="148" y="114"/>
                    </a:lnTo>
                    <a:close/>
                    <a:moveTo>
                      <a:pt x="66" y="114"/>
                    </a:moveTo>
                    <a:lnTo>
                      <a:pt x="66" y="96"/>
                    </a:lnTo>
                    <a:lnTo>
                      <a:pt x="21" y="96"/>
                    </a:lnTo>
                    <a:lnTo>
                      <a:pt x="21" y="69"/>
                    </a:lnTo>
                    <a:lnTo>
                      <a:pt x="57" y="69"/>
                    </a:lnTo>
                    <a:lnTo>
                      <a:pt x="57" y="52"/>
                    </a:lnTo>
                    <a:lnTo>
                      <a:pt x="21" y="52"/>
                    </a:lnTo>
                    <a:lnTo>
                      <a:pt x="21" y="29"/>
                    </a:lnTo>
                    <a:lnTo>
                      <a:pt x="62" y="29"/>
                    </a:lnTo>
                    <a:lnTo>
                      <a:pt x="64" y="11"/>
                    </a:lnTo>
                    <a:lnTo>
                      <a:pt x="0" y="11"/>
                    </a:lnTo>
                    <a:lnTo>
                      <a:pt x="0" y="114"/>
                    </a:lnTo>
                    <a:lnTo>
                      <a:pt x="66" y="114"/>
                    </a:lnTo>
                    <a:close/>
                  </a:path>
                </a:pathLst>
              </a:custGeom>
              <a:solidFill>
                <a:srgbClr val="57687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" name="Freeform 39">
                <a:extLst>
                  <a:ext uri="{FF2B5EF4-FFF2-40B4-BE49-F238E27FC236}">
                    <a16:creationId xmlns:a16="http://schemas.microsoft.com/office/drawing/2014/main" id="{51711CB5-FDD0-45BA-AF04-A449C06413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29374" y="990263"/>
                <a:ext cx="354012" cy="273050"/>
              </a:xfrm>
              <a:custGeom>
                <a:avLst/>
                <a:gdLst>
                  <a:gd name="T0" fmla="*/ 0 w 443"/>
                  <a:gd name="T1" fmla="*/ 0 h 341"/>
                  <a:gd name="T2" fmla="*/ 0 w 443"/>
                  <a:gd name="T3" fmla="*/ 217 h 341"/>
                  <a:gd name="T4" fmla="*/ 131 w 443"/>
                  <a:gd name="T5" fmla="*/ 341 h 341"/>
                  <a:gd name="T6" fmla="*/ 222 w 443"/>
                  <a:gd name="T7" fmla="*/ 300 h 341"/>
                  <a:gd name="T8" fmla="*/ 313 w 443"/>
                  <a:gd name="T9" fmla="*/ 341 h 341"/>
                  <a:gd name="T10" fmla="*/ 443 w 443"/>
                  <a:gd name="T11" fmla="*/ 217 h 341"/>
                  <a:gd name="T12" fmla="*/ 443 w 443"/>
                  <a:gd name="T13" fmla="*/ 0 h 341"/>
                  <a:gd name="T14" fmla="*/ 365 w 443"/>
                  <a:gd name="T15" fmla="*/ 0 h 341"/>
                  <a:gd name="T16" fmla="*/ 365 w 443"/>
                  <a:gd name="T17" fmla="*/ 219 h 341"/>
                  <a:gd name="T18" fmla="*/ 313 w 443"/>
                  <a:gd name="T19" fmla="*/ 268 h 341"/>
                  <a:gd name="T20" fmla="*/ 261 w 443"/>
                  <a:gd name="T21" fmla="*/ 219 h 341"/>
                  <a:gd name="T22" fmla="*/ 261 w 443"/>
                  <a:gd name="T23" fmla="*/ 0 h 341"/>
                  <a:gd name="T24" fmla="*/ 183 w 443"/>
                  <a:gd name="T25" fmla="*/ 0 h 341"/>
                  <a:gd name="T26" fmla="*/ 183 w 443"/>
                  <a:gd name="T27" fmla="*/ 219 h 341"/>
                  <a:gd name="T28" fmla="*/ 131 w 443"/>
                  <a:gd name="T29" fmla="*/ 268 h 341"/>
                  <a:gd name="T30" fmla="*/ 79 w 443"/>
                  <a:gd name="T31" fmla="*/ 219 h 341"/>
                  <a:gd name="T32" fmla="*/ 79 w 443"/>
                  <a:gd name="T33" fmla="*/ 0 h 341"/>
                  <a:gd name="T34" fmla="*/ 0 w 443"/>
                  <a:gd name="T35" fmla="*/ 0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3" h="341">
                    <a:moveTo>
                      <a:pt x="0" y="0"/>
                    </a:moveTo>
                    <a:lnTo>
                      <a:pt x="0" y="217"/>
                    </a:lnTo>
                    <a:cubicBezTo>
                      <a:pt x="0" y="285"/>
                      <a:pt x="59" y="341"/>
                      <a:pt x="131" y="341"/>
                    </a:cubicBezTo>
                    <a:cubicBezTo>
                      <a:pt x="165" y="341"/>
                      <a:pt x="205" y="322"/>
                      <a:pt x="222" y="300"/>
                    </a:cubicBezTo>
                    <a:cubicBezTo>
                      <a:pt x="239" y="322"/>
                      <a:pt x="279" y="341"/>
                      <a:pt x="313" y="341"/>
                    </a:cubicBezTo>
                    <a:cubicBezTo>
                      <a:pt x="385" y="341"/>
                      <a:pt x="443" y="285"/>
                      <a:pt x="443" y="217"/>
                    </a:cubicBezTo>
                    <a:lnTo>
                      <a:pt x="443" y="0"/>
                    </a:lnTo>
                    <a:lnTo>
                      <a:pt x="365" y="0"/>
                    </a:lnTo>
                    <a:lnTo>
                      <a:pt x="365" y="219"/>
                    </a:lnTo>
                    <a:cubicBezTo>
                      <a:pt x="365" y="246"/>
                      <a:pt x="342" y="268"/>
                      <a:pt x="313" y="268"/>
                    </a:cubicBezTo>
                    <a:cubicBezTo>
                      <a:pt x="285" y="268"/>
                      <a:pt x="261" y="246"/>
                      <a:pt x="261" y="219"/>
                    </a:cubicBezTo>
                    <a:lnTo>
                      <a:pt x="261" y="0"/>
                    </a:lnTo>
                    <a:lnTo>
                      <a:pt x="183" y="0"/>
                    </a:lnTo>
                    <a:lnTo>
                      <a:pt x="183" y="219"/>
                    </a:lnTo>
                    <a:cubicBezTo>
                      <a:pt x="183" y="246"/>
                      <a:pt x="159" y="268"/>
                      <a:pt x="131" y="268"/>
                    </a:cubicBezTo>
                    <a:cubicBezTo>
                      <a:pt x="102" y="268"/>
                      <a:pt x="79" y="246"/>
                      <a:pt x="79" y="219"/>
                    </a:cubicBez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9" name="Freeform 40">
                <a:extLst>
                  <a:ext uri="{FF2B5EF4-FFF2-40B4-BE49-F238E27FC236}">
                    <a16:creationId xmlns:a16="http://schemas.microsoft.com/office/drawing/2014/main" id="{B674A5F6-C446-4850-91C4-4386313632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30924" y="982325"/>
                <a:ext cx="276225" cy="277813"/>
              </a:xfrm>
              <a:custGeom>
                <a:avLst/>
                <a:gdLst>
                  <a:gd name="T0" fmla="*/ 345 w 347"/>
                  <a:gd name="T1" fmla="*/ 199 h 348"/>
                  <a:gd name="T2" fmla="*/ 347 w 347"/>
                  <a:gd name="T3" fmla="*/ 174 h 348"/>
                  <a:gd name="T4" fmla="*/ 174 w 347"/>
                  <a:gd name="T5" fmla="*/ 0 h 348"/>
                  <a:gd name="T6" fmla="*/ 0 w 347"/>
                  <a:gd name="T7" fmla="*/ 174 h 348"/>
                  <a:gd name="T8" fmla="*/ 174 w 347"/>
                  <a:gd name="T9" fmla="*/ 348 h 348"/>
                  <a:gd name="T10" fmla="*/ 336 w 347"/>
                  <a:gd name="T11" fmla="*/ 237 h 348"/>
                  <a:gd name="T12" fmla="*/ 254 w 347"/>
                  <a:gd name="T13" fmla="*/ 237 h 348"/>
                  <a:gd name="T14" fmla="*/ 174 w 347"/>
                  <a:gd name="T15" fmla="*/ 276 h 348"/>
                  <a:gd name="T16" fmla="*/ 71 w 347"/>
                  <a:gd name="T17" fmla="*/ 174 h 348"/>
                  <a:gd name="T18" fmla="*/ 174 w 347"/>
                  <a:gd name="T19" fmla="*/ 71 h 348"/>
                  <a:gd name="T20" fmla="*/ 265 w 347"/>
                  <a:gd name="T21" fmla="*/ 128 h 348"/>
                  <a:gd name="T22" fmla="*/ 141 w 347"/>
                  <a:gd name="T23" fmla="*/ 128 h 348"/>
                  <a:gd name="T24" fmla="*/ 141 w 347"/>
                  <a:gd name="T25" fmla="*/ 199 h 348"/>
                  <a:gd name="T26" fmla="*/ 345 w 347"/>
                  <a:gd name="T27" fmla="*/ 199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7" h="348">
                    <a:moveTo>
                      <a:pt x="345" y="199"/>
                    </a:moveTo>
                    <a:cubicBezTo>
                      <a:pt x="347" y="191"/>
                      <a:pt x="347" y="183"/>
                      <a:pt x="347" y="174"/>
                    </a:cubicBezTo>
                    <a:cubicBezTo>
                      <a:pt x="347" y="78"/>
                      <a:pt x="270" y="0"/>
                      <a:pt x="174" y="0"/>
                    </a:cubicBezTo>
                    <a:cubicBezTo>
                      <a:pt x="78" y="0"/>
                      <a:pt x="0" y="78"/>
                      <a:pt x="0" y="174"/>
                    </a:cubicBezTo>
                    <a:cubicBezTo>
                      <a:pt x="0" y="270"/>
                      <a:pt x="78" y="348"/>
                      <a:pt x="174" y="348"/>
                    </a:cubicBezTo>
                    <a:cubicBezTo>
                      <a:pt x="248" y="348"/>
                      <a:pt x="310" y="301"/>
                      <a:pt x="336" y="237"/>
                    </a:cubicBezTo>
                    <a:lnTo>
                      <a:pt x="254" y="237"/>
                    </a:lnTo>
                    <a:cubicBezTo>
                      <a:pt x="235" y="260"/>
                      <a:pt x="206" y="276"/>
                      <a:pt x="174" y="276"/>
                    </a:cubicBezTo>
                    <a:cubicBezTo>
                      <a:pt x="117" y="276"/>
                      <a:pt x="71" y="230"/>
                      <a:pt x="71" y="174"/>
                    </a:cubicBezTo>
                    <a:cubicBezTo>
                      <a:pt x="71" y="117"/>
                      <a:pt x="117" y="71"/>
                      <a:pt x="174" y="71"/>
                    </a:cubicBezTo>
                    <a:cubicBezTo>
                      <a:pt x="214" y="71"/>
                      <a:pt x="248" y="95"/>
                      <a:pt x="265" y="128"/>
                    </a:cubicBezTo>
                    <a:lnTo>
                      <a:pt x="141" y="128"/>
                    </a:lnTo>
                    <a:lnTo>
                      <a:pt x="141" y="199"/>
                    </a:lnTo>
                    <a:lnTo>
                      <a:pt x="345" y="199"/>
                    </a:ln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" name="Freeform 41">
                <a:extLst>
                  <a:ext uri="{FF2B5EF4-FFF2-40B4-BE49-F238E27FC236}">
                    <a16:creationId xmlns:a16="http://schemas.microsoft.com/office/drawing/2014/main" id="{1DEBB3CE-6DB7-4BD1-9115-2ADBF8BA7FC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34061" y="868025"/>
                <a:ext cx="276225" cy="395288"/>
              </a:xfrm>
              <a:custGeom>
                <a:avLst/>
                <a:gdLst>
                  <a:gd name="T0" fmla="*/ 273 w 347"/>
                  <a:gd name="T1" fmla="*/ 0 h 496"/>
                  <a:gd name="T2" fmla="*/ 273 w 347"/>
                  <a:gd name="T3" fmla="*/ 184 h 496"/>
                  <a:gd name="T4" fmla="*/ 173 w 347"/>
                  <a:gd name="T5" fmla="*/ 150 h 496"/>
                  <a:gd name="T6" fmla="*/ 0 w 347"/>
                  <a:gd name="T7" fmla="*/ 323 h 496"/>
                  <a:gd name="T8" fmla="*/ 173 w 347"/>
                  <a:gd name="T9" fmla="*/ 496 h 496"/>
                  <a:gd name="T10" fmla="*/ 273 w 347"/>
                  <a:gd name="T11" fmla="*/ 463 h 496"/>
                  <a:gd name="T12" fmla="*/ 273 w 347"/>
                  <a:gd name="T13" fmla="*/ 492 h 496"/>
                  <a:gd name="T14" fmla="*/ 347 w 347"/>
                  <a:gd name="T15" fmla="*/ 492 h 496"/>
                  <a:gd name="T16" fmla="*/ 347 w 347"/>
                  <a:gd name="T17" fmla="*/ 0 h 496"/>
                  <a:gd name="T18" fmla="*/ 273 w 347"/>
                  <a:gd name="T19" fmla="*/ 0 h 496"/>
                  <a:gd name="T20" fmla="*/ 196 w 347"/>
                  <a:gd name="T21" fmla="*/ 421 h 496"/>
                  <a:gd name="T22" fmla="*/ 173 w 347"/>
                  <a:gd name="T23" fmla="*/ 425 h 496"/>
                  <a:gd name="T24" fmla="*/ 134 w 347"/>
                  <a:gd name="T25" fmla="*/ 416 h 496"/>
                  <a:gd name="T26" fmla="*/ 71 w 347"/>
                  <a:gd name="T27" fmla="*/ 321 h 496"/>
                  <a:gd name="T28" fmla="*/ 173 w 347"/>
                  <a:gd name="T29" fmla="*/ 219 h 496"/>
                  <a:gd name="T30" fmla="*/ 276 w 347"/>
                  <a:gd name="T31" fmla="*/ 321 h 496"/>
                  <a:gd name="T32" fmla="*/ 196 w 347"/>
                  <a:gd name="T33" fmla="*/ 421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7" h="496">
                    <a:moveTo>
                      <a:pt x="273" y="0"/>
                    </a:moveTo>
                    <a:lnTo>
                      <a:pt x="273" y="184"/>
                    </a:lnTo>
                    <a:cubicBezTo>
                      <a:pt x="245" y="163"/>
                      <a:pt x="211" y="150"/>
                      <a:pt x="173" y="150"/>
                    </a:cubicBezTo>
                    <a:cubicBezTo>
                      <a:pt x="77" y="150"/>
                      <a:pt x="0" y="227"/>
                      <a:pt x="0" y="323"/>
                    </a:cubicBezTo>
                    <a:cubicBezTo>
                      <a:pt x="0" y="418"/>
                      <a:pt x="77" y="496"/>
                      <a:pt x="173" y="496"/>
                    </a:cubicBezTo>
                    <a:cubicBezTo>
                      <a:pt x="211" y="496"/>
                      <a:pt x="245" y="484"/>
                      <a:pt x="273" y="463"/>
                    </a:cubicBezTo>
                    <a:lnTo>
                      <a:pt x="273" y="492"/>
                    </a:lnTo>
                    <a:lnTo>
                      <a:pt x="347" y="492"/>
                    </a:lnTo>
                    <a:lnTo>
                      <a:pt x="347" y="0"/>
                    </a:lnTo>
                    <a:lnTo>
                      <a:pt x="273" y="0"/>
                    </a:lnTo>
                    <a:close/>
                    <a:moveTo>
                      <a:pt x="196" y="421"/>
                    </a:moveTo>
                    <a:cubicBezTo>
                      <a:pt x="189" y="423"/>
                      <a:pt x="181" y="425"/>
                      <a:pt x="173" y="425"/>
                    </a:cubicBezTo>
                    <a:cubicBezTo>
                      <a:pt x="159" y="425"/>
                      <a:pt x="146" y="421"/>
                      <a:pt x="134" y="416"/>
                    </a:cubicBezTo>
                    <a:cubicBezTo>
                      <a:pt x="97" y="401"/>
                      <a:pt x="71" y="364"/>
                      <a:pt x="71" y="321"/>
                    </a:cubicBezTo>
                    <a:cubicBezTo>
                      <a:pt x="71" y="265"/>
                      <a:pt x="117" y="219"/>
                      <a:pt x="173" y="219"/>
                    </a:cubicBezTo>
                    <a:cubicBezTo>
                      <a:pt x="230" y="219"/>
                      <a:pt x="276" y="265"/>
                      <a:pt x="276" y="321"/>
                    </a:cubicBezTo>
                    <a:cubicBezTo>
                      <a:pt x="276" y="370"/>
                      <a:pt x="242" y="411"/>
                      <a:pt x="196" y="421"/>
                    </a:cubicBez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" name="Freeform 42">
                <a:extLst>
                  <a:ext uri="{FF2B5EF4-FFF2-40B4-BE49-F238E27FC236}">
                    <a16:creationId xmlns:a16="http://schemas.microsoft.com/office/drawing/2014/main" id="{398B1686-5CFD-4572-9AC3-C1BC150D359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868025"/>
                <a:ext cx="277812" cy="395288"/>
              </a:xfrm>
              <a:custGeom>
                <a:avLst/>
                <a:gdLst>
                  <a:gd name="T0" fmla="*/ 175 w 348"/>
                  <a:gd name="T1" fmla="*/ 150 h 496"/>
                  <a:gd name="T2" fmla="*/ 75 w 348"/>
                  <a:gd name="T3" fmla="*/ 184 h 496"/>
                  <a:gd name="T4" fmla="*/ 75 w 348"/>
                  <a:gd name="T5" fmla="*/ 0 h 496"/>
                  <a:gd name="T6" fmla="*/ 0 w 348"/>
                  <a:gd name="T7" fmla="*/ 0 h 496"/>
                  <a:gd name="T8" fmla="*/ 0 w 348"/>
                  <a:gd name="T9" fmla="*/ 492 h 496"/>
                  <a:gd name="T10" fmla="*/ 75 w 348"/>
                  <a:gd name="T11" fmla="*/ 492 h 496"/>
                  <a:gd name="T12" fmla="*/ 75 w 348"/>
                  <a:gd name="T13" fmla="*/ 463 h 496"/>
                  <a:gd name="T14" fmla="*/ 175 w 348"/>
                  <a:gd name="T15" fmla="*/ 496 h 496"/>
                  <a:gd name="T16" fmla="*/ 348 w 348"/>
                  <a:gd name="T17" fmla="*/ 323 h 496"/>
                  <a:gd name="T18" fmla="*/ 175 w 348"/>
                  <a:gd name="T19" fmla="*/ 150 h 496"/>
                  <a:gd name="T20" fmla="*/ 214 w 348"/>
                  <a:gd name="T21" fmla="*/ 416 h 496"/>
                  <a:gd name="T22" fmla="*/ 175 w 348"/>
                  <a:gd name="T23" fmla="*/ 425 h 496"/>
                  <a:gd name="T24" fmla="*/ 152 w 348"/>
                  <a:gd name="T25" fmla="*/ 421 h 496"/>
                  <a:gd name="T26" fmla="*/ 72 w 348"/>
                  <a:gd name="T27" fmla="*/ 321 h 496"/>
                  <a:gd name="T28" fmla="*/ 175 w 348"/>
                  <a:gd name="T29" fmla="*/ 219 h 496"/>
                  <a:gd name="T30" fmla="*/ 277 w 348"/>
                  <a:gd name="T31" fmla="*/ 321 h 496"/>
                  <a:gd name="T32" fmla="*/ 214 w 348"/>
                  <a:gd name="T33" fmla="*/ 41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8" h="496">
                    <a:moveTo>
                      <a:pt x="175" y="150"/>
                    </a:moveTo>
                    <a:cubicBezTo>
                      <a:pt x="137" y="150"/>
                      <a:pt x="103" y="163"/>
                      <a:pt x="75" y="184"/>
                    </a:cubicBezTo>
                    <a:lnTo>
                      <a:pt x="75" y="0"/>
                    </a:lnTo>
                    <a:lnTo>
                      <a:pt x="0" y="0"/>
                    </a:lnTo>
                    <a:lnTo>
                      <a:pt x="0" y="492"/>
                    </a:lnTo>
                    <a:lnTo>
                      <a:pt x="75" y="492"/>
                    </a:lnTo>
                    <a:lnTo>
                      <a:pt x="75" y="463"/>
                    </a:lnTo>
                    <a:cubicBezTo>
                      <a:pt x="103" y="484"/>
                      <a:pt x="137" y="496"/>
                      <a:pt x="175" y="496"/>
                    </a:cubicBezTo>
                    <a:cubicBezTo>
                      <a:pt x="271" y="496"/>
                      <a:pt x="348" y="418"/>
                      <a:pt x="348" y="323"/>
                    </a:cubicBezTo>
                    <a:cubicBezTo>
                      <a:pt x="348" y="227"/>
                      <a:pt x="271" y="150"/>
                      <a:pt x="175" y="150"/>
                    </a:cubicBezTo>
                    <a:close/>
                    <a:moveTo>
                      <a:pt x="214" y="416"/>
                    </a:moveTo>
                    <a:cubicBezTo>
                      <a:pt x="202" y="421"/>
                      <a:pt x="189" y="425"/>
                      <a:pt x="175" y="425"/>
                    </a:cubicBezTo>
                    <a:cubicBezTo>
                      <a:pt x="167" y="425"/>
                      <a:pt x="159" y="423"/>
                      <a:pt x="152" y="421"/>
                    </a:cubicBezTo>
                    <a:cubicBezTo>
                      <a:pt x="106" y="411"/>
                      <a:pt x="72" y="370"/>
                      <a:pt x="72" y="321"/>
                    </a:cubicBezTo>
                    <a:cubicBezTo>
                      <a:pt x="72" y="265"/>
                      <a:pt x="118" y="219"/>
                      <a:pt x="175" y="219"/>
                    </a:cubicBezTo>
                    <a:cubicBezTo>
                      <a:pt x="231" y="219"/>
                      <a:pt x="277" y="265"/>
                      <a:pt x="277" y="321"/>
                    </a:cubicBezTo>
                    <a:cubicBezTo>
                      <a:pt x="277" y="364"/>
                      <a:pt x="251" y="401"/>
                      <a:pt x="214" y="416"/>
                    </a:cubicBez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24" name="Rechteck 23">
            <a:extLst>
              <a:ext uri="{FF2B5EF4-FFF2-40B4-BE49-F238E27FC236}">
                <a16:creationId xmlns:a16="http://schemas.microsoft.com/office/drawing/2014/main" id="{2EE0F0D4-6685-4EBF-BDDE-F1F07A75E28C}"/>
              </a:ext>
            </a:extLst>
          </p:cNvPr>
          <p:cNvSpPr/>
          <p:nvPr/>
        </p:nvSpPr>
        <p:spPr>
          <a:xfrm>
            <a:off x="143223" y="144115"/>
            <a:ext cx="8928000" cy="4896000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36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0F04ABD-AB70-43C7-8E1E-84E50CA7E4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240000" y="4680000"/>
            <a:ext cx="720000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5.12.2025</a:t>
            </a:r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4754258-9DA9-4222-904E-38F8917AB3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-2493129" y="2329202"/>
            <a:ext cx="4711057" cy="129070"/>
          </a:xfrm>
        </p:spPr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596DB13-F412-4D9A-B389-421D118121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16200000">
            <a:off x="-252215" y="4966566"/>
            <a:ext cx="216000" cy="144000"/>
          </a:xfrm>
        </p:spPr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184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903">
          <p15:clr>
            <a:srgbClr val="FBAE40"/>
          </p15:clr>
        </p15:guide>
        <p15:guide id="3" pos="4354">
          <p15:clr>
            <a:srgbClr val="FBAE40"/>
          </p15:clr>
        </p15:guide>
        <p15:guide id="4" orient="horz" pos="285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F30B11-90C1-48B5-A47B-C6C1867AC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DBBAA8B-5A9A-4984-A4EC-9CDEF82C883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431800" y="1800225"/>
            <a:ext cx="8351838" cy="14398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E7B639A-AFF6-4EDB-99AE-23678F46DB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1800" y="3529013"/>
            <a:ext cx="8351838" cy="14398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4900303E-28C7-4FC4-AF8B-D64370D186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7EEE5B8C-0EC7-4871-80F8-5DCAB8D14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0E16A24A-9139-4FF6-986E-80EA854617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2605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E7DB84-1C76-4167-A28D-AD10C28D4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DB10FA-C3B7-4C1C-B1C4-F19374D001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1800" y="1800225"/>
            <a:ext cx="8351838" cy="14398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EDE0DD5-8E4C-4F57-8A9C-9B3B37C6FF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31800" y="3529013"/>
            <a:ext cx="8351838" cy="14398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98EEC750-0B2F-488E-9088-8FF75E3F94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3F30E6A8-BBE1-47A0-80EF-02DC869E29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3F6B8303-2540-4DAE-BF26-C7B544AAD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5527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 und 2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170E73-7B77-4078-A382-0C38BC2CD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914319D-3A73-4DDF-ADE3-85B9FB53761B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431453" y="1800596"/>
            <a:ext cx="4032250" cy="14398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7736D84-618E-496A-AC3D-E2A92EFA1FC1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4751735" y="1800596"/>
            <a:ext cx="4032250" cy="14398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8BD211A-3457-4834-84A1-AE172669D601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432345" y="3528789"/>
            <a:ext cx="8351838" cy="14398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801DFD5D-D5EC-4A24-BE5F-48A5500AFC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2C41F924-1E8F-4D53-86CA-BC874913A5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BFFEC7D3-E135-4302-A206-2D371365E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9818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3D6122-9C49-4329-B4B5-6F4F6028EC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63E382-756A-44AF-86F7-F7E4606D44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1453" y="1800001"/>
            <a:ext cx="4032250" cy="31686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99C7164-EA5E-4BD4-8F63-A774048A1426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4751735" y="1800596"/>
            <a:ext cx="4032250" cy="14398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B3F3531-153E-412B-A2C2-22CBB0989746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4751735" y="3527822"/>
            <a:ext cx="4032250" cy="144082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7991A111-EF73-4046-A40F-93F22DC6CF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7CD87D2F-C9B2-46E6-B99C-2FB5729EB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5C5254AC-3CE8-4B54-9ECD-D09902342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6731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el, zwei Inhalte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D6D3C2-FE42-433A-9008-EF24A5F6A9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D13FA7A-E881-42F5-92F1-92C549E3697D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431255" y="1800299"/>
            <a:ext cx="4032250" cy="14398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471D891-307D-499C-811E-856AA16698A8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431453" y="3527822"/>
            <a:ext cx="4032250" cy="144082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9625E5A9-BCAC-4FCB-93D6-30B8E48B481D}"/>
              </a:ext>
            </a:extLst>
          </p:cNvPr>
          <p:cNvSpPr>
            <a:spLocks noGrp="1"/>
          </p:cNvSpPr>
          <p:nvPr>
            <p:ph sz="half" idx="3"/>
          </p:nvPr>
        </p:nvSpPr>
        <p:spPr>
          <a:xfrm>
            <a:off x="4751735" y="1800001"/>
            <a:ext cx="4032250" cy="31686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2BF21BBF-C9FB-4867-B3D2-9D0B54407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DF6D0EBA-AD7F-49CD-B148-48B841A3D1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A375505-4158-43A4-9442-7ED07FE18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6140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5485CA-1478-439A-A4E7-B336017DFAB7}"/>
              </a:ext>
            </a:extLst>
          </p:cNvPr>
          <p:cNvSpPr>
            <a:spLocks noGrp="1"/>
          </p:cNvSpPr>
          <p:nvPr>
            <p:ph type="title" sz="quarter"/>
          </p:nvPr>
        </p:nvSpPr>
        <p:spPr>
          <a:xfrm>
            <a:off x="431257" y="864639"/>
            <a:ext cx="8352382" cy="64762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151A88-096E-42BD-AA5A-19671CAD7082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431453" y="1800596"/>
            <a:ext cx="4032250" cy="14398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CECC308-A649-4266-B1C6-4C9B6FA73A69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4751933" y="1800596"/>
            <a:ext cx="4032250" cy="14398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85A12CD-4454-4B4E-B18F-179F5C244864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431255" y="3528789"/>
            <a:ext cx="4032250" cy="14398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63D2CAA-22E9-4F5F-8A11-4A490885378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751735" y="3528789"/>
            <a:ext cx="4032250" cy="14398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12FE41DB-56D6-4293-B48C-458161373D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2F570F22-1430-4D12-9F56-7879F9096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33923EF9-E923-4428-928A-FA602A25E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7090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(ganzseitig) +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E7B8209-2A83-4F31-8D75-7F62DE28F3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9215438" cy="5184775"/>
          </a:xfrm>
          <a:solidFill>
            <a:srgbClr val="C20000"/>
          </a:solidFill>
        </p:spPr>
        <p:txBody>
          <a:bodyPr lIns="6408000" tIns="720000" rIns="576000" bIns="2088000"/>
          <a:lstStyle>
            <a:lvl1pPr marL="0" indent="0">
              <a:buNone/>
              <a:defRPr sz="2600" b="1">
                <a:solidFill>
                  <a:schemeClr val="bg1"/>
                </a:solidFill>
              </a:defRPr>
            </a:lvl1pPr>
            <a:lvl2pPr marL="360000" indent="0">
              <a:buNone/>
              <a:defRPr sz="26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D524620A-E9D6-4F69-BD6E-074EC76BE5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215438" cy="5184775"/>
          </a:xfrm>
          <a:custGeom>
            <a:avLst/>
            <a:gdLst>
              <a:gd name="connsiteX0" fmla="*/ 6192183 w 9215438"/>
              <a:gd name="connsiteY0" fmla="*/ 576163 h 5184775"/>
              <a:gd name="connsiteX1" fmla="*/ 6192183 w 9215438"/>
              <a:gd name="connsiteY1" fmla="*/ 3024163 h 5184775"/>
              <a:gd name="connsiteX2" fmla="*/ 8784183 w 9215438"/>
              <a:gd name="connsiteY2" fmla="*/ 3024163 h 5184775"/>
              <a:gd name="connsiteX3" fmla="*/ 8784183 w 9215438"/>
              <a:gd name="connsiteY3" fmla="*/ 576163 h 5184775"/>
              <a:gd name="connsiteX4" fmla="*/ 0 w 9215438"/>
              <a:gd name="connsiteY4" fmla="*/ 0 h 5184775"/>
              <a:gd name="connsiteX5" fmla="*/ 9215438 w 9215438"/>
              <a:gd name="connsiteY5" fmla="*/ 0 h 5184775"/>
              <a:gd name="connsiteX6" fmla="*/ 9215438 w 9215438"/>
              <a:gd name="connsiteY6" fmla="*/ 5184775 h 5184775"/>
              <a:gd name="connsiteX7" fmla="*/ 0 w 9215438"/>
              <a:gd name="connsiteY7" fmla="*/ 5184775 h 518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15438" h="5184775">
                <a:moveTo>
                  <a:pt x="6192183" y="576163"/>
                </a:moveTo>
                <a:lnTo>
                  <a:pt x="6192183" y="3024163"/>
                </a:lnTo>
                <a:lnTo>
                  <a:pt x="8784183" y="3024163"/>
                </a:lnTo>
                <a:lnTo>
                  <a:pt x="8784183" y="576163"/>
                </a:lnTo>
                <a:close/>
                <a:moveTo>
                  <a:pt x="0" y="0"/>
                </a:moveTo>
                <a:lnTo>
                  <a:pt x="9215438" y="0"/>
                </a:lnTo>
                <a:lnTo>
                  <a:pt x="9215438" y="5184775"/>
                </a:lnTo>
                <a:lnTo>
                  <a:pt x="0" y="518477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432000" tIns="576000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D84E6C9-2B27-49BB-99EE-018CF284E6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4824651"/>
            <a:ext cx="4032250" cy="144000"/>
          </a:xfrm>
        </p:spPr>
        <p:txBody>
          <a:bodyPr wrap="none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0"/>
            </a:lvl1pPr>
          </a:lstStyle>
          <a:p>
            <a:pPr lvl="0"/>
            <a:r>
              <a:rPr lang="de-DE" dirty="0"/>
              <a:t>Quelle hinzufügen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B9FA5F2F-29BA-42B5-B323-CC6F9941277E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 rot="16200000">
            <a:off x="-359093" y="4661350"/>
            <a:ext cx="504000" cy="144000"/>
          </a:xfrm>
        </p:spPr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ABF5829D-B1D3-4290-A36F-E11F4AABC14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 rot="16200000">
            <a:off x="-2249093" y="2066675"/>
            <a:ext cx="4284000" cy="144000"/>
          </a:xfrm>
        </p:spPr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C699A843-664C-4B65-A0E7-48FEDD0D137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 rot="16200000">
            <a:off x="-215093" y="4316675"/>
            <a:ext cx="216000" cy="144000"/>
          </a:xfrm>
        </p:spPr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7315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spaltig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2797550-BDEB-4493-A73E-BE77A12FC5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4CF833-9070-40EB-9C9E-0AFFBBEAF8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C45381-A556-48A3-9565-2CC81A9CD9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ACFC84-6CA2-4B55-8E0D-1F73C57314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800" y="863600"/>
            <a:ext cx="2592000" cy="4105275"/>
          </a:xfrm>
          <a:solidFill>
            <a:srgbClr val="C00000"/>
          </a:solidFill>
        </p:spPr>
        <p:txBody>
          <a:bodyPr lIns="216000" tIns="360000" rIns="144000" bIns="360000"/>
          <a:lstStyle>
            <a:lvl1pPr marL="0" indent="0" algn="l">
              <a:spcBef>
                <a:spcPts val="0"/>
              </a:spcBef>
              <a:spcAft>
                <a:spcPts val="1000"/>
              </a:spcAft>
              <a:buNone/>
              <a:defRPr sz="2600" b="1">
                <a:solidFill>
                  <a:schemeClr val="bg1"/>
                </a:solidFill>
              </a:defRPr>
            </a:lvl1pPr>
            <a:lvl2pPr marL="0" indent="0" algn="l">
              <a:spcBef>
                <a:spcPts val="1000"/>
              </a:spcBef>
              <a:buNone/>
              <a:defRPr sz="2000" b="0">
                <a:solidFill>
                  <a:schemeClr val="bg1"/>
                </a:solidFill>
              </a:defRPr>
            </a:lvl2pPr>
            <a:lvl3pPr marL="719138" indent="-719138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3pPr>
            <a:lvl4pPr marL="1080000" indent="0" algn="l">
              <a:spcBef>
                <a:spcPts val="0"/>
              </a:spcBef>
              <a:buNone/>
              <a:defRPr sz="2600" b="1">
                <a:solidFill>
                  <a:schemeClr val="tx1"/>
                </a:solidFill>
              </a:defRPr>
            </a:lvl4pPr>
            <a:lvl5pPr marL="1440000" indent="0" algn="l">
              <a:spcBef>
                <a:spcPts val="0"/>
              </a:spcBef>
              <a:buNone/>
              <a:defRPr sz="2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87C1E97-4157-4722-9142-30DAF0ABA1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11574" y="863600"/>
            <a:ext cx="5472063" cy="4105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13659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spaltig Tex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2797550-BDEB-4493-A73E-BE77A12FC5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4CF833-9070-40EB-9C9E-0AFFBBEAF8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C45381-A556-48A3-9565-2CC81A9CD9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ACFC84-6CA2-4B55-8E0D-1F73C57314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800" y="863600"/>
            <a:ext cx="2592000" cy="4105275"/>
          </a:xfrm>
          <a:solidFill>
            <a:srgbClr val="C20000"/>
          </a:solidFill>
        </p:spPr>
        <p:txBody>
          <a:bodyPr lIns="216000" tIns="360000" rIns="144000" bIns="360000"/>
          <a:lstStyle>
            <a:lvl1pPr marL="0" indent="0" algn="l">
              <a:spcBef>
                <a:spcPts val="0"/>
              </a:spcBef>
              <a:spcAft>
                <a:spcPts val="1000"/>
              </a:spcAft>
              <a:buNone/>
              <a:defRPr sz="2600" b="1">
                <a:solidFill>
                  <a:schemeClr val="bg1"/>
                </a:solidFill>
              </a:defRPr>
            </a:lvl1pPr>
            <a:lvl2pPr marL="0" indent="0" algn="l">
              <a:spcBef>
                <a:spcPts val="1000"/>
              </a:spcBef>
              <a:buNone/>
              <a:defRPr sz="2000" b="0">
                <a:solidFill>
                  <a:schemeClr val="bg1"/>
                </a:solidFill>
              </a:defRPr>
            </a:lvl2pPr>
            <a:lvl3pPr marL="719138" indent="-719138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3pPr>
            <a:lvl4pPr marL="1080000" indent="0" algn="l">
              <a:spcBef>
                <a:spcPts val="0"/>
              </a:spcBef>
              <a:buNone/>
              <a:defRPr sz="2600" b="1">
                <a:solidFill>
                  <a:schemeClr val="tx1"/>
                </a:solidFill>
              </a:defRPr>
            </a:lvl4pPr>
            <a:lvl5pPr marL="1440000" indent="0" algn="l">
              <a:spcBef>
                <a:spcPts val="0"/>
              </a:spcBef>
              <a:buNone/>
              <a:defRPr sz="2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87C1E97-4157-4722-9142-30DAF0ABA1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11575" y="863600"/>
            <a:ext cx="2592000" cy="4105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D60B593F-2A8C-4E25-8364-AD550B5127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91895" y="863600"/>
            <a:ext cx="2592000" cy="4105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041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(großformatig) +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F248B8E-B4D4-46D8-BAEC-058D254866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800" y="863600"/>
            <a:ext cx="8351838" cy="4105275"/>
          </a:xfrm>
          <a:solidFill>
            <a:srgbClr val="C00000"/>
          </a:solidFill>
        </p:spPr>
        <p:txBody>
          <a:bodyPr lIns="576000" tIns="576000" rIns="5544000" bIns="2088000"/>
          <a:lstStyle>
            <a:lvl1pPr marL="0" indent="0">
              <a:buNone/>
              <a:defRPr sz="2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2149302-2969-427D-9DD1-3435C2390D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9BEBE89-7CC6-4CBB-8D89-9C2B984FB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19A05AF-1D58-4CE6-BC08-E67A601E6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7DD8A94-ECE8-4F6E-A93B-DA44BB13FAE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1800" y="863600"/>
            <a:ext cx="8351838" cy="4105275"/>
          </a:xfrm>
          <a:custGeom>
            <a:avLst/>
            <a:gdLst>
              <a:gd name="connsiteX0" fmla="*/ 359783 w 8351838"/>
              <a:gd name="connsiteY0" fmla="*/ 432643 h 4105275"/>
              <a:gd name="connsiteX1" fmla="*/ 359783 w 8351838"/>
              <a:gd name="connsiteY1" fmla="*/ 2880643 h 4105275"/>
              <a:gd name="connsiteX2" fmla="*/ 2951783 w 8351838"/>
              <a:gd name="connsiteY2" fmla="*/ 2880643 h 4105275"/>
              <a:gd name="connsiteX3" fmla="*/ 2951783 w 8351838"/>
              <a:gd name="connsiteY3" fmla="*/ 432643 h 4105275"/>
              <a:gd name="connsiteX4" fmla="*/ 0 w 8351838"/>
              <a:gd name="connsiteY4" fmla="*/ 0 h 4105275"/>
              <a:gd name="connsiteX5" fmla="*/ 8351838 w 8351838"/>
              <a:gd name="connsiteY5" fmla="*/ 0 h 4105275"/>
              <a:gd name="connsiteX6" fmla="*/ 8351838 w 8351838"/>
              <a:gd name="connsiteY6" fmla="*/ 4105275 h 4105275"/>
              <a:gd name="connsiteX7" fmla="*/ 0 w 8351838"/>
              <a:gd name="connsiteY7" fmla="*/ 4105275 h 410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51838" h="4105275">
                <a:moveTo>
                  <a:pt x="359783" y="432643"/>
                </a:moveTo>
                <a:lnTo>
                  <a:pt x="359783" y="2880643"/>
                </a:lnTo>
                <a:lnTo>
                  <a:pt x="2951783" y="2880643"/>
                </a:lnTo>
                <a:lnTo>
                  <a:pt x="2951783" y="432643"/>
                </a:lnTo>
                <a:close/>
                <a:moveTo>
                  <a:pt x="0" y="0"/>
                </a:moveTo>
                <a:lnTo>
                  <a:pt x="8351838" y="0"/>
                </a:lnTo>
                <a:lnTo>
                  <a:pt x="8351838" y="4105275"/>
                </a:lnTo>
                <a:lnTo>
                  <a:pt x="0" y="410527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44000" tIns="72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0645E2-B0AF-4FFF-B573-EE81DEFA61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0575" y="4752643"/>
            <a:ext cx="3673475" cy="144000"/>
          </a:xfrm>
        </p:spPr>
        <p:txBody>
          <a:bodyPr wrap="none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0"/>
            </a:lvl1pPr>
          </a:lstStyle>
          <a:p>
            <a:pPr lvl="0"/>
            <a:r>
              <a:rPr lang="de-DE" dirty="0"/>
              <a:t>Quelle hinzufügen</a:t>
            </a:r>
          </a:p>
        </p:txBody>
      </p:sp>
    </p:spTree>
    <p:extLst>
      <p:ext uri="{BB962C8B-B14F-4D97-AF65-F5344CB8AC3E}">
        <p14:creationId xmlns:p14="http://schemas.microsoft.com/office/powerpoint/2010/main" val="40263660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074F5C-519F-401E-B8DC-ABBE966DC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F652DE8-4A9F-4A64-98A9-E56A24D1BC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2" y="1800225"/>
            <a:ext cx="8352382" cy="31684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10DA6540-5AE8-42DF-B039-4E61F0665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D6B704C-088A-4A56-BE10-5A4D2C609A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CD2D232A-A3F7-448E-B544-A4D3BD526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8772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(randabfallend) + Titel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3B93387-8199-4B37-AB48-6EFB10EC1B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863600"/>
            <a:ext cx="9215438" cy="4321175"/>
          </a:xfrm>
          <a:solidFill>
            <a:srgbClr val="C20000"/>
          </a:solidFill>
        </p:spPr>
        <p:txBody>
          <a:bodyPr lIns="6048000" tIns="828000" rIns="576000" bIns="2160000"/>
          <a:lstStyle>
            <a:lvl1pPr>
              <a:spcBef>
                <a:spcPts val="0"/>
              </a:spcBef>
              <a:defRPr sz="2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BAE4131-6CF5-43E9-9AF5-8F58645741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61EE5BC-0FB7-4ADE-863C-3CD93DEA3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1AD75-27EC-41C7-B35C-1BA97C64C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E8BBB4D0-D6D2-4ED2-89FE-53F37DEBB79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863600"/>
            <a:ext cx="9215438" cy="4321175"/>
          </a:xfrm>
          <a:custGeom>
            <a:avLst/>
            <a:gdLst>
              <a:gd name="connsiteX0" fmla="*/ 6191895 w 9215438"/>
              <a:gd name="connsiteY0" fmla="*/ 649287 h 4321175"/>
              <a:gd name="connsiteX1" fmla="*/ 6191895 w 9215438"/>
              <a:gd name="connsiteY1" fmla="*/ 3097287 h 4321175"/>
              <a:gd name="connsiteX2" fmla="*/ 8783895 w 9215438"/>
              <a:gd name="connsiteY2" fmla="*/ 3097287 h 4321175"/>
              <a:gd name="connsiteX3" fmla="*/ 8783895 w 9215438"/>
              <a:gd name="connsiteY3" fmla="*/ 649287 h 4321175"/>
              <a:gd name="connsiteX4" fmla="*/ 0 w 9215438"/>
              <a:gd name="connsiteY4" fmla="*/ 0 h 4321175"/>
              <a:gd name="connsiteX5" fmla="*/ 9215438 w 9215438"/>
              <a:gd name="connsiteY5" fmla="*/ 0 h 4321175"/>
              <a:gd name="connsiteX6" fmla="*/ 9215438 w 9215438"/>
              <a:gd name="connsiteY6" fmla="*/ 4321175 h 4321175"/>
              <a:gd name="connsiteX7" fmla="*/ 0 w 9215438"/>
              <a:gd name="connsiteY7" fmla="*/ 4321175 h 432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15438" h="4321175">
                <a:moveTo>
                  <a:pt x="6191895" y="649287"/>
                </a:moveTo>
                <a:lnTo>
                  <a:pt x="6191895" y="3097287"/>
                </a:lnTo>
                <a:lnTo>
                  <a:pt x="8783895" y="3097287"/>
                </a:lnTo>
                <a:lnTo>
                  <a:pt x="8783895" y="649287"/>
                </a:lnTo>
                <a:close/>
                <a:moveTo>
                  <a:pt x="0" y="0"/>
                </a:moveTo>
                <a:lnTo>
                  <a:pt x="9215438" y="0"/>
                </a:lnTo>
                <a:lnTo>
                  <a:pt x="9215438" y="4321175"/>
                </a:lnTo>
                <a:lnTo>
                  <a:pt x="0" y="432117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432000" tIns="32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88F502E-137E-47BE-BAD7-2CDDCE67D4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4824635"/>
            <a:ext cx="4032250" cy="144000"/>
          </a:xfrm>
        </p:spPr>
        <p:txBody>
          <a:bodyPr wrap="none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0"/>
            </a:lvl1pPr>
          </a:lstStyle>
          <a:p>
            <a:pPr lvl="0"/>
            <a:r>
              <a:rPr lang="de-DE" dirty="0"/>
              <a:t>Quelle hinzufügen</a:t>
            </a:r>
          </a:p>
        </p:txBody>
      </p:sp>
    </p:spTree>
    <p:extLst>
      <p:ext uri="{BB962C8B-B14F-4D97-AF65-F5344CB8AC3E}">
        <p14:creationId xmlns:p14="http://schemas.microsoft.com/office/powerpoint/2010/main" val="16282320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EF79AF-9987-4D87-BF59-C9124DE9D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CF0D1A3-9C30-4EBE-95A8-EC5188BCA5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62D49EB-C43D-4EDA-9303-261C48851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CCE1D69-E2C3-4327-A150-9907574628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5342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4CD471B-F069-4F58-8FFD-247DBBEF1D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AD5BC863-5791-4E61-BED5-2D160C7298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739D196-54BD-4D01-978C-007DE5A0B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6696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92222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B6C2A7ED-3E27-439F-AEFC-E742B9DAC482}"/>
              </a:ext>
            </a:extLst>
          </p:cNvPr>
          <p:cNvSpPr txBox="1">
            <a:spLocks/>
          </p:cNvSpPr>
          <p:nvPr/>
        </p:nvSpPr>
        <p:spPr>
          <a:xfrm>
            <a:off x="431255" y="2664395"/>
            <a:ext cx="6192000" cy="1150362"/>
          </a:xfrm>
          <a:prstGeom prst="rect">
            <a:avLst/>
          </a:prstGeom>
        </p:spPr>
        <p:txBody>
          <a:bodyPr lIns="0" tIns="0" rIns="0" bIns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endParaRPr lang="de-DE" sz="1600" dirty="0"/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r>
              <a:rPr lang="de-DE" sz="1600" dirty="0"/>
              <a:t>T 	+49 30 300199-</a:t>
            </a:r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br>
              <a:rPr lang="de-DE" sz="1600" dirty="0"/>
            </a:br>
            <a:endParaRPr lang="de-DE" sz="1600" dirty="0"/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r>
              <a:rPr lang="de-DE" sz="1600" dirty="0"/>
              <a:t>www.bdew.de</a:t>
            </a:r>
          </a:p>
        </p:txBody>
      </p:sp>
      <p:sp>
        <p:nvSpPr>
          <p:cNvPr id="8" name="Textplatzhalter 24">
            <a:extLst>
              <a:ext uri="{FF2B5EF4-FFF2-40B4-BE49-F238E27FC236}">
                <a16:creationId xmlns:a16="http://schemas.microsoft.com/office/drawing/2014/main" id="{163336B0-2170-409A-84C2-E385D2F84FAD}"/>
              </a:ext>
            </a:extLst>
          </p:cNvPr>
          <p:cNvSpPr txBox="1">
            <a:spLocks/>
          </p:cNvSpPr>
          <p:nvPr/>
        </p:nvSpPr>
        <p:spPr>
          <a:xfrm>
            <a:off x="431255" y="3888587"/>
            <a:ext cx="6480000" cy="50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de-DE" sz="1600" b="1" dirty="0">
                <a:solidFill>
                  <a:schemeClr val="bg1"/>
                </a:solidFill>
              </a:rPr>
              <a:t>BDEW Bundesverband der Energie- und Wasserwirtschaft e.V.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600" dirty="0">
                <a:solidFill>
                  <a:schemeClr val="bg1"/>
                </a:solidFill>
              </a:rPr>
              <a:t>Reinhardtstraße 32 · 10117 Berlin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D9A01EA3-8451-411A-A54D-13395C21C1FB}"/>
              </a:ext>
            </a:extLst>
          </p:cNvPr>
          <p:cNvSpPr>
            <a:spLocks noChangeArrowheads="1"/>
          </p:cNvSpPr>
          <p:nvPr/>
        </p:nvSpPr>
        <p:spPr bwMode="hidden">
          <a:xfrm>
            <a:off x="144000" y="144000"/>
            <a:ext cx="8928000" cy="4896000"/>
          </a:xfrm>
          <a:prstGeom prst="rect">
            <a:avLst/>
          </a:prstGeom>
          <a:noFill/>
          <a:ln w="12700">
            <a:solidFill>
              <a:srgbClr val="C00000"/>
            </a:solidFill>
          </a:ln>
          <a:effectLst/>
        </p:spPr>
        <p:txBody>
          <a:bodyPr wrap="none" anchor="ctr"/>
          <a:lstStyle/>
          <a:p>
            <a:endParaRPr lang="de-DE" sz="1828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5904070-0BA0-4AE0-842E-83FD5922B85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71990" y="576162"/>
            <a:ext cx="1800225" cy="1224000"/>
            <a:chOff x="7271990" y="576162"/>
            <a:chExt cx="1800225" cy="1224000"/>
          </a:xfrm>
        </p:grpSpPr>
        <p:sp>
          <p:nvSpPr>
            <p:cNvPr id="11" name="Rectangle 6">
              <a:extLst>
                <a:ext uri="{FF2B5EF4-FFF2-40B4-BE49-F238E27FC236}">
                  <a16:creationId xmlns:a16="http://schemas.microsoft.com/office/drawing/2014/main" id="{8E3F5386-A68E-4783-91A4-7ABCEF0F6CA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71990" y="576162"/>
              <a:ext cx="1800225" cy="1224000"/>
            </a:xfrm>
            <a:prstGeom prst="rect">
              <a:avLst/>
            </a:prstGeom>
            <a:solidFill>
              <a:srgbClr val="C2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43DDAB11-4336-45B9-8C7A-BFB021B00D43}"/>
                </a:ext>
              </a:extLst>
            </p:cNvPr>
            <p:cNvGrpSpPr/>
            <p:nvPr/>
          </p:nvGrpSpPr>
          <p:grpSpPr bwMode="gray">
            <a:xfrm>
              <a:off x="7538786" y="868025"/>
              <a:ext cx="1244600" cy="646113"/>
              <a:chOff x="7538786" y="868025"/>
              <a:chExt cx="1244600" cy="646113"/>
            </a:xfrm>
          </p:grpSpPr>
          <p:sp>
            <p:nvSpPr>
              <p:cNvPr id="13" name="Freeform 38">
                <a:extLst>
                  <a:ext uri="{FF2B5EF4-FFF2-40B4-BE49-F238E27FC236}">
                    <a16:creationId xmlns:a16="http://schemas.microsoft.com/office/drawing/2014/main" id="{AAF8BDAB-1509-41A4-95CE-55A836221A3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1398250"/>
                <a:ext cx="1244600" cy="115888"/>
              </a:xfrm>
              <a:custGeom>
                <a:avLst/>
                <a:gdLst>
                  <a:gd name="T0" fmla="*/ 1559 w 1559"/>
                  <a:gd name="T1" fmla="*/ 104 h 146"/>
                  <a:gd name="T2" fmla="*/ 1471 w 1559"/>
                  <a:gd name="T3" fmla="*/ 48 h 146"/>
                  <a:gd name="T4" fmla="*/ 1472 w 1559"/>
                  <a:gd name="T5" fmla="*/ 114 h 146"/>
                  <a:gd name="T6" fmla="*/ 1518 w 1559"/>
                  <a:gd name="T7" fmla="*/ 114 h 146"/>
                  <a:gd name="T8" fmla="*/ 1433 w 1559"/>
                  <a:gd name="T9" fmla="*/ 74 h 146"/>
                  <a:gd name="T10" fmla="*/ 1431 w 1559"/>
                  <a:gd name="T11" fmla="*/ 92 h 146"/>
                  <a:gd name="T12" fmla="*/ 1332 w 1559"/>
                  <a:gd name="T13" fmla="*/ 75 h 146"/>
                  <a:gd name="T14" fmla="*/ 1332 w 1559"/>
                  <a:gd name="T15" fmla="*/ 75 h 146"/>
                  <a:gd name="T16" fmla="*/ 1304 w 1559"/>
                  <a:gd name="T17" fmla="*/ 2 h 146"/>
                  <a:gd name="T18" fmla="*/ 1303 w 1559"/>
                  <a:gd name="T19" fmla="*/ 108 h 146"/>
                  <a:gd name="T20" fmla="*/ 1232 w 1559"/>
                  <a:gd name="T21" fmla="*/ 51 h 146"/>
                  <a:gd name="T22" fmla="*/ 1231 w 1559"/>
                  <a:gd name="T23" fmla="*/ 115 h 146"/>
                  <a:gd name="T24" fmla="*/ 1265 w 1559"/>
                  <a:gd name="T25" fmla="*/ 80 h 146"/>
                  <a:gd name="T26" fmla="*/ 1145 w 1559"/>
                  <a:gd name="T27" fmla="*/ 11 h 146"/>
                  <a:gd name="T28" fmla="*/ 1061 w 1559"/>
                  <a:gd name="T29" fmla="*/ 92 h 146"/>
                  <a:gd name="T30" fmla="*/ 1044 w 1559"/>
                  <a:gd name="T31" fmla="*/ 37 h 146"/>
                  <a:gd name="T32" fmla="*/ 1008 w 1559"/>
                  <a:gd name="T33" fmla="*/ 56 h 146"/>
                  <a:gd name="T34" fmla="*/ 1051 w 1559"/>
                  <a:gd name="T35" fmla="*/ 54 h 146"/>
                  <a:gd name="T36" fmla="*/ 970 w 1559"/>
                  <a:gd name="T37" fmla="*/ 68 h 146"/>
                  <a:gd name="T38" fmla="*/ 989 w 1559"/>
                  <a:gd name="T39" fmla="*/ 108 h 146"/>
                  <a:gd name="T40" fmla="*/ 990 w 1559"/>
                  <a:gd name="T41" fmla="*/ 74 h 146"/>
                  <a:gd name="T42" fmla="*/ 906 w 1559"/>
                  <a:gd name="T43" fmla="*/ 57 h 146"/>
                  <a:gd name="T44" fmla="*/ 892 w 1559"/>
                  <a:gd name="T45" fmla="*/ 92 h 146"/>
                  <a:gd name="T46" fmla="*/ 911 w 1559"/>
                  <a:gd name="T47" fmla="*/ 91 h 146"/>
                  <a:gd name="T48" fmla="*/ 837 w 1559"/>
                  <a:gd name="T49" fmla="*/ 57 h 146"/>
                  <a:gd name="T50" fmla="*/ 823 w 1559"/>
                  <a:gd name="T51" fmla="*/ 92 h 146"/>
                  <a:gd name="T52" fmla="*/ 843 w 1559"/>
                  <a:gd name="T53" fmla="*/ 91 h 146"/>
                  <a:gd name="T54" fmla="*/ 749 w 1559"/>
                  <a:gd name="T55" fmla="*/ 80 h 146"/>
                  <a:gd name="T56" fmla="*/ 765 w 1559"/>
                  <a:gd name="T57" fmla="*/ 43 h 146"/>
                  <a:gd name="T58" fmla="*/ 749 w 1559"/>
                  <a:gd name="T59" fmla="*/ 61 h 146"/>
                  <a:gd name="T60" fmla="*/ 751 w 1559"/>
                  <a:gd name="T61" fmla="*/ 107 h 146"/>
                  <a:gd name="T62" fmla="*/ 667 w 1559"/>
                  <a:gd name="T63" fmla="*/ 61 h 146"/>
                  <a:gd name="T64" fmla="*/ 613 w 1559"/>
                  <a:gd name="T65" fmla="*/ 61 h 146"/>
                  <a:gd name="T66" fmla="*/ 597 w 1559"/>
                  <a:gd name="T67" fmla="*/ 114 h 146"/>
                  <a:gd name="T68" fmla="*/ 650 w 1559"/>
                  <a:gd name="T69" fmla="*/ 114 h 146"/>
                  <a:gd name="T70" fmla="*/ 512 w 1559"/>
                  <a:gd name="T71" fmla="*/ 104 h 146"/>
                  <a:gd name="T72" fmla="*/ 464 w 1559"/>
                  <a:gd name="T73" fmla="*/ 51 h 146"/>
                  <a:gd name="T74" fmla="*/ 462 w 1559"/>
                  <a:gd name="T75" fmla="*/ 115 h 146"/>
                  <a:gd name="T76" fmla="*/ 496 w 1559"/>
                  <a:gd name="T77" fmla="*/ 80 h 146"/>
                  <a:gd name="T78" fmla="*/ 393 w 1559"/>
                  <a:gd name="T79" fmla="*/ 38 h 146"/>
                  <a:gd name="T80" fmla="*/ 391 w 1559"/>
                  <a:gd name="T81" fmla="*/ 12 h 146"/>
                  <a:gd name="T82" fmla="*/ 326 w 1559"/>
                  <a:gd name="T83" fmla="*/ 75 h 146"/>
                  <a:gd name="T84" fmla="*/ 355 w 1559"/>
                  <a:gd name="T85" fmla="*/ 38 h 146"/>
                  <a:gd name="T86" fmla="*/ 353 w 1559"/>
                  <a:gd name="T87" fmla="*/ 103 h 146"/>
                  <a:gd name="T88" fmla="*/ 310 w 1559"/>
                  <a:gd name="T89" fmla="*/ 122 h 146"/>
                  <a:gd name="T90" fmla="*/ 373 w 1559"/>
                  <a:gd name="T91" fmla="*/ 56 h 146"/>
                  <a:gd name="T92" fmla="*/ 269 w 1559"/>
                  <a:gd name="T93" fmla="*/ 47 h 146"/>
                  <a:gd name="T94" fmla="*/ 270 w 1559"/>
                  <a:gd name="T95" fmla="*/ 114 h 146"/>
                  <a:gd name="T96" fmla="*/ 211 w 1559"/>
                  <a:gd name="T97" fmla="*/ 68 h 146"/>
                  <a:gd name="T98" fmla="*/ 198 w 1559"/>
                  <a:gd name="T99" fmla="*/ 36 h 146"/>
                  <a:gd name="T100" fmla="*/ 200 w 1559"/>
                  <a:gd name="T101" fmla="*/ 100 h 146"/>
                  <a:gd name="T102" fmla="*/ 148 w 1559"/>
                  <a:gd name="T103" fmla="*/ 62 h 146"/>
                  <a:gd name="T104" fmla="*/ 81 w 1559"/>
                  <a:gd name="T105" fmla="*/ 38 h 146"/>
                  <a:gd name="T106" fmla="*/ 119 w 1559"/>
                  <a:gd name="T107" fmla="*/ 54 h 146"/>
                  <a:gd name="T108" fmla="*/ 66 w 1559"/>
                  <a:gd name="T109" fmla="*/ 96 h 146"/>
                  <a:gd name="T110" fmla="*/ 21 w 1559"/>
                  <a:gd name="T111" fmla="*/ 52 h 146"/>
                  <a:gd name="T112" fmla="*/ 0 w 1559"/>
                  <a:gd name="T113" fmla="*/ 11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59" h="146">
                    <a:moveTo>
                      <a:pt x="1559" y="104"/>
                    </a:moveTo>
                    <a:cubicBezTo>
                      <a:pt x="1559" y="98"/>
                      <a:pt x="1556" y="92"/>
                      <a:pt x="1547" y="92"/>
                    </a:cubicBezTo>
                    <a:cubicBezTo>
                      <a:pt x="1539" y="92"/>
                      <a:pt x="1535" y="98"/>
                      <a:pt x="1535" y="104"/>
                    </a:cubicBezTo>
                    <a:cubicBezTo>
                      <a:pt x="1535" y="110"/>
                      <a:pt x="1539" y="116"/>
                      <a:pt x="1547" y="116"/>
                    </a:cubicBezTo>
                    <a:cubicBezTo>
                      <a:pt x="1556" y="116"/>
                      <a:pt x="1559" y="110"/>
                      <a:pt x="1559" y="104"/>
                    </a:cubicBezTo>
                    <a:close/>
                    <a:moveTo>
                      <a:pt x="1518" y="114"/>
                    </a:moveTo>
                    <a:lnTo>
                      <a:pt x="1518" y="62"/>
                    </a:lnTo>
                    <a:cubicBezTo>
                      <a:pt x="1518" y="55"/>
                      <a:pt x="1517" y="49"/>
                      <a:pt x="1514" y="45"/>
                    </a:cubicBezTo>
                    <a:cubicBezTo>
                      <a:pt x="1510" y="39"/>
                      <a:pt x="1504" y="36"/>
                      <a:pt x="1495" y="36"/>
                    </a:cubicBezTo>
                    <a:cubicBezTo>
                      <a:pt x="1485" y="36"/>
                      <a:pt x="1474" y="45"/>
                      <a:pt x="1471" y="48"/>
                    </a:cubicBezTo>
                    <a:cubicBezTo>
                      <a:pt x="1471" y="43"/>
                      <a:pt x="1470" y="38"/>
                      <a:pt x="1470" y="38"/>
                    </a:cubicBezTo>
                    <a:lnTo>
                      <a:pt x="1450" y="38"/>
                    </a:lnTo>
                    <a:cubicBezTo>
                      <a:pt x="1450" y="38"/>
                      <a:pt x="1451" y="47"/>
                      <a:pt x="1451" y="56"/>
                    </a:cubicBezTo>
                    <a:lnTo>
                      <a:pt x="1451" y="114"/>
                    </a:lnTo>
                    <a:lnTo>
                      <a:pt x="1472" y="114"/>
                    </a:lnTo>
                    <a:lnTo>
                      <a:pt x="1472" y="62"/>
                    </a:lnTo>
                    <a:cubicBezTo>
                      <a:pt x="1475" y="59"/>
                      <a:pt x="1482" y="54"/>
                      <a:pt x="1488" y="54"/>
                    </a:cubicBezTo>
                    <a:cubicBezTo>
                      <a:pt x="1493" y="54"/>
                      <a:pt x="1497" y="55"/>
                      <a:pt x="1497" y="64"/>
                    </a:cubicBezTo>
                    <a:lnTo>
                      <a:pt x="1497" y="114"/>
                    </a:lnTo>
                    <a:lnTo>
                      <a:pt x="1518" y="114"/>
                    </a:lnTo>
                    <a:close/>
                    <a:moveTo>
                      <a:pt x="1413" y="68"/>
                    </a:moveTo>
                    <a:lnTo>
                      <a:pt x="1389" y="68"/>
                    </a:lnTo>
                    <a:cubicBezTo>
                      <a:pt x="1389" y="62"/>
                      <a:pt x="1391" y="51"/>
                      <a:pt x="1400" y="51"/>
                    </a:cubicBezTo>
                    <a:cubicBezTo>
                      <a:pt x="1411" y="51"/>
                      <a:pt x="1413" y="62"/>
                      <a:pt x="1413" y="68"/>
                    </a:cubicBezTo>
                    <a:close/>
                    <a:moveTo>
                      <a:pt x="1433" y="74"/>
                    </a:moveTo>
                    <a:cubicBezTo>
                      <a:pt x="1433" y="56"/>
                      <a:pt x="1426" y="36"/>
                      <a:pt x="1400" y="36"/>
                    </a:cubicBezTo>
                    <a:cubicBezTo>
                      <a:pt x="1378" y="36"/>
                      <a:pt x="1367" y="56"/>
                      <a:pt x="1367" y="76"/>
                    </a:cubicBezTo>
                    <a:cubicBezTo>
                      <a:pt x="1367" y="90"/>
                      <a:pt x="1372" y="115"/>
                      <a:pt x="1399" y="115"/>
                    </a:cubicBezTo>
                    <a:cubicBezTo>
                      <a:pt x="1420" y="115"/>
                      <a:pt x="1432" y="108"/>
                      <a:pt x="1432" y="108"/>
                    </a:cubicBezTo>
                    <a:lnTo>
                      <a:pt x="1431" y="92"/>
                    </a:lnTo>
                    <a:cubicBezTo>
                      <a:pt x="1431" y="92"/>
                      <a:pt x="1416" y="100"/>
                      <a:pt x="1402" y="100"/>
                    </a:cubicBezTo>
                    <a:cubicBezTo>
                      <a:pt x="1393" y="100"/>
                      <a:pt x="1389" y="94"/>
                      <a:pt x="1389" y="80"/>
                    </a:cubicBezTo>
                    <a:lnTo>
                      <a:pt x="1433" y="80"/>
                    </a:lnTo>
                    <a:cubicBezTo>
                      <a:pt x="1433" y="80"/>
                      <a:pt x="1433" y="76"/>
                      <a:pt x="1433" y="74"/>
                    </a:cubicBezTo>
                    <a:moveTo>
                      <a:pt x="1332" y="75"/>
                    </a:moveTo>
                    <a:cubicBezTo>
                      <a:pt x="1332" y="93"/>
                      <a:pt x="1326" y="99"/>
                      <a:pt x="1319" y="99"/>
                    </a:cubicBezTo>
                    <a:cubicBezTo>
                      <a:pt x="1316" y="99"/>
                      <a:pt x="1310" y="97"/>
                      <a:pt x="1304" y="94"/>
                    </a:cubicBezTo>
                    <a:lnTo>
                      <a:pt x="1304" y="59"/>
                    </a:lnTo>
                    <a:cubicBezTo>
                      <a:pt x="1310" y="54"/>
                      <a:pt x="1316" y="53"/>
                      <a:pt x="1320" y="53"/>
                    </a:cubicBezTo>
                    <a:cubicBezTo>
                      <a:pt x="1330" y="53"/>
                      <a:pt x="1332" y="67"/>
                      <a:pt x="1332" y="75"/>
                    </a:cubicBezTo>
                    <a:close/>
                    <a:moveTo>
                      <a:pt x="1353" y="76"/>
                    </a:moveTo>
                    <a:cubicBezTo>
                      <a:pt x="1353" y="60"/>
                      <a:pt x="1349" y="36"/>
                      <a:pt x="1324" y="36"/>
                    </a:cubicBezTo>
                    <a:cubicBezTo>
                      <a:pt x="1315" y="36"/>
                      <a:pt x="1306" y="43"/>
                      <a:pt x="1304" y="44"/>
                    </a:cubicBezTo>
                    <a:cubicBezTo>
                      <a:pt x="1304" y="44"/>
                      <a:pt x="1304" y="39"/>
                      <a:pt x="1304" y="36"/>
                    </a:cubicBezTo>
                    <a:lnTo>
                      <a:pt x="1304" y="2"/>
                    </a:lnTo>
                    <a:lnTo>
                      <a:pt x="1284" y="4"/>
                    </a:lnTo>
                    <a:lnTo>
                      <a:pt x="1284" y="98"/>
                    </a:lnTo>
                    <a:cubicBezTo>
                      <a:pt x="1284" y="105"/>
                      <a:pt x="1283" y="114"/>
                      <a:pt x="1283" y="114"/>
                    </a:cubicBezTo>
                    <a:lnTo>
                      <a:pt x="1302" y="114"/>
                    </a:lnTo>
                    <a:cubicBezTo>
                      <a:pt x="1303" y="112"/>
                      <a:pt x="1303" y="109"/>
                      <a:pt x="1303" y="108"/>
                    </a:cubicBezTo>
                    <a:cubicBezTo>
                      <a:pt x="1304" y="109"/>
                      <a:pt x="1313" y="115"/>
                      <a:pt x="1324" y="115"/>
                    </a:cubicBezTo>
                    <a:cubicBezTo>
                      <a:pt x="1342" y="115"/>
                      <a:pt x="1353" y="98"/>
                      <a:pt x="1353" y="76"/>
                    </a:cubicBezTo>
                    <a:moveTo>
                      <a:pt x="1245" y="68"/>
                    </a:moveTo>
                    <a:lnTo>
                      <a:pt x="1221" y="68"/>
                    </a:lnTo>
                    <a:cubicBezTo>
                      <a:pt x="1221" y="62"/>
                      <a:pt x="1223" y="51"/>
                      <a:pt x="1232" y="51"/>
                    </a:cubicBezTo>
                    <a:cubicBezTo>
                      <a:pt x="1243" y="51"/>
                      <a:pt x="1245" y="62"/>
                      <a:pt x="1245" y="68"/>
                    </a:cubicBezTo>
                    <a:close/>
                    <a:moveTo>
                      <a:pt x="1265" y="74"/>
                    </a:moveTo>
                    <a:cubicBezTo>
                      <a:pt x="1265" y="56"/>
                      <a:pt x="1258" y="36"/>
                      <a:pt x="1232" y="36"/>
                    </a:cubicBezTo>
                    <a:cubicBezTo>
                      <a:pt x="1210" y="36"/>
                      <a:pt x="1199" y="56"/>
                      <a:pt x="1199" y="76"/>
                    </a:cubicBezTo>
                    <a:cubicBezTo>
                      <a:pt x="1199" y="90"/>
                      <a:pt x="1204" y="115"/>
                      <a:pt x="1231" y="115"/>
                    </a:cubicBezTo>
                    <a:cubicBezTo>
                      <a:pt x="1251" y="115"/>
                      <a:pt x="1264" y="108"/>
                      <a:pt x="1264" y="108"/>
                    </a:cubicBezTo>
                    <a:lnTo>
                      <a:pt x="1263" y="92"/>
                    </a:lnTo>
                    <a:cubicBezTo>
                      <a:pt x="1263" y="92"/>
                      <a:pt x="1248" y="100"/>
                      <a:pt x="1234" y="100"/>
                    </a:cubicBezTo>
                    <a:cubicBezTo>
                      <a:pt x="1225" y="100"/>
                      <a:pt x="1221" y="94"/>
                      <a:pt x="1221" y="80"/>
                    </a:cubicBezTo>
                    <a:lnTo>
                      <a:pt x="1265" y="80"/>
                    </a:lnTo>
                    <a:cubicBezTo>
                      <a:pt x="1265" y="80"/>
                      <a:pt x="1265" y="76"/>
                      <a:pt x="1265" y="74"/>
                    </a:cubicBezTo>
                    <a:moveTo>
                      <a:pt x="1188" y="114"/>
                    </a:moveTo>
                    <a:lnTo>
                      <a:pt x="1188" y="95"/>
                    </a:lnTo>
                    <a:lnTo>
                      <a:pt x="1145" y="95"/>
                    </a:lnTo>
                    <a:lnTo>
                      <a:pt x="1145" y="11"/>
                    </a:lnTo>
                    <a:lnTo>
                      <a:pt x="1124" y="11"/>
                    </a:lnTo>
                    <a:lnTo>
                      <a:pt x="1124" y="114"/>
                    </a:lnTo>
                    <a:lnTo>
                      <a:pt x="1188" y="114"/>
                    </a:lnTo>
                    <a:close/>
                    <a:moveTo>
                      <a:pt x="1073" y="104"/>
                    </a:moveTo>
                    <a:cubicBezTo>
                      <a:pt x="1073" y="98"/>
                      <a:pt x="1069" y="92"/>
                      <a:pt x="1061" y="92"/>
                    </a:cubicBezTo>
                    <a:cubicBezTo>
                      <a:pt x="1053" y="92"/>
                      <a:pt x="1048" y="98"/>
                      <a:pt x="1048" y="104"/>
                    </a:cubicBezTo>
                    <a:cubicBezTo>
                      <a:pt x="1048" y="110"/>
                      <a:pt x="1053" y="116"/>
                      <a:pt x="1061" y="116"/>
                    </a:cubicBezTo>
                    <a:cubicBezTo>
                      <a:pt x="1069" y="116"/>
                      <a:pt x="1073" y="110"/>
                      <a:pt x="1073" y="104"/>
                    </a:cubicBezTo>
                    <a:close/>
                    <a:moveTo>
                      <a:pt x="1053" y="38"/>
                    </a:moveTo>
                    <a:cubicBezTo>
                      <a:pt x="1053" y="38"/>
                      <a:pt x="1052" y="37"/>
                      <a:pt x="1044" y="37"/>
                    </a:cubicBezTo>
                    <a:cubicBezTo>
                      <a:pt x="1038" y="37"/>
                      <a:pt x="1032" y="42"/>
                      <a:pt x="1029" y="45"/>
                    </a:cubicBezTo>
                    <a:cubicBezTo>
                      <a:pt x="1029" y="46"/>
                      <a:pt x="1028" y="47"/>
                      <a:pt x="1028" y="47"/>
                    </a:cubicBezTo>
                    <a:cubicBezTo>
                      <a:pt x="1028" y="43"/>
                      <a:pt x="1027" y="38"/>
                      <a:pt x="1027" y="38"/>
                    </a:cubicBezTo>
                    <a:lnTo>
                      <a:pt x="1007" y="38"/>
                    </a:lnTo>
                    <a:cubicBezTo>
                      <a:pt x="1007" y="38"/>
                      <a:pt x="1008" y="47"/>
                      <a:pt x="1008" y="56"/>
                    </a:cubicBezTo>
                    <a:lnTo>
                      <a:pt x="1008" y="114"/>
                    </a:lnTo>
                    <a:lnTo>
                      <a:pt x="1029" y="114"/>
                    </a:lnTo>
                    <a:lnTo>
                      <a:pt x="1029" y="60"/>
                    </a:lnTo>
                    <a:cubicBezTo>
                      <a:pt x="1034" y="56"/>
                      <a:pt x="1039" y="53"/>
                      <a:pt x="1041" y="53"/>
                    </a:cubicBezTo>
                    <a:cubicBezTo>
                      <a:pt x="1047" y="53"/>
                      <a:pt x="1051" y="54"/>
                      <a:pt x="1051" y="54"/>
                    </a:cubicBezTo>
                    <a:lnTo>
                      <a:pt x="1053" y="38"/>
                    </a:lnTo>
                    <a:close/>
                    <a:moveTo>
                      <a:pt x="970" y="68"/>
                    </a:moveTo>
                    <a:lnTo>
                      <a:pt x="946" y="68"/>
                    </a:lnTo>
                    <a:cubicBezTo>
                      <a:pt x="946" y="62"/>
                      <a:pt x="948" y="51"/>
                      <a:pt x="958" y="51"/>
                    </a:cubicBezTo>
                    <a:cubicBezTo>
                      <a:pt x="968" y="51"/>
                      <a:pt x="970" y="62"/>
                      <a:pt x="970" y="68"/>
                    </a:cubicBezTo>
                    <a:close/>
                    <a:moveTo>
                      <a:pt x="990" y="74"/>
                    </a:moveTo>
                    <a:cubicBezTo>
                      <a:pt x="990" y="56"/>
                      <a:pt x="983" y="36"/>
                      <a:pt x="958" y="36"/>
                    </a:cubicBezTo>
                    <a:cubicBezTo>
                      <a:pt x="935" y="36"/>
                      <a:pt x="925" y="56"/>
                      <a:pt x="925" y="76"/>
                    </a:cubicBezTo>
                    <a:cubicBezTo>
                      <a:pt x="925" y="90"/>
                      <a:pt x="929" y="115"/>
                      <a:pt x="956" y="115"/>
                    </a:cubicBezTo>
                    <a:cubicBezTo>
                      <a:pt x="977" y="115"/>
                      <a:pt x="989" y="108"/>
                      <a:pt x="989" y="108"/>
                    </a:cubicBezTo>
                    <a:lnTo>
                      <a:pt x="988" y="92"/>
                    </a:lnTo>
                    <a:cubicBezTo>
                      <a:pt x="988" y="92"/>
                      <a:pt x="974" y="100"/>
                      <a:pt x="960" y="100"/>
                    </a:cubicBezTo>
                    <a:cubicBezTo>
                      <a:pt x="951" y="100"/>
                      <a:pt x="946" y="94"/>
                      <a:pt x="946" y="80"/>
                    </a:cubicBezTo>
                    <a:lnTo>
                      <a:pt x="990" y="80"/>
                    </a:lnTo>
                    <a:cubicBezTo>
                      <a:pt x="990" y="80"/>
                      <a:pt x="990" y="76"/>
                      <a:pt x="990" y="74"/>
                    </a:cubicBezTo>
                    <a:moveTo>
                      <a:pt x="911" y="91"/>
                    </a:moveTo>
                    <a:cubicBezTo>
                      <a:pt x="911" y="73"/>
                      <a:pt x="894" y="70"/>
                      <a:pt x="882" y="64"/>
                    </a:cubicBezTo>
                    <a:cubicBezTo>
                      <a:pt x="879" y="63"/>
                      <a:pt x="876" y="61"/>
                      <a:pt x="876" y="58"/>
                    </a:cubicBezTo>
                    <a:cubicBezTo>
                      <a:pt x="876" y="56"/>
                      <a:pt x="878" y="52"/>
                      <a:pt x="884" y="52"/>
                    </a:cubicBezTo>
                    <a:cubicBezTo>
                      <a:pt x="894" y="52"/>
                      <a:pt x="906" y="57"/>
                      <a:pt x="906" y="57"/>
                    </a:cubicBezTo>
                    <a:lnTo>
                      <a:pt x="907" y="40"/>
                    </a:lnTo>
                    <a:cubicBezTo>
                      <a:pt x="907" y="40"/>
                      <a:pt x="897" y="36"/>
                      <a:pt x="885" y="36"/>
                    </a:cubicBezTo>
                    <a:cubicBezTo>
                      <a:pt x="870" y="36"/>
                      <a:pt x="857" y="44"/>
                      <a:pt x="857" y="60"/>
                    </a:cubicBezTo>
                    <a:cubicBezTo>
                      <a:pt x="857" y="77"/>
                      <a:pt x="874" y="80"/>
                      <a:pt x="885" y="85"/>
                    </a:cubicBezTo>
                    <a:cubicBezTo>
                      <a:pt x="889" y="87"/>
                      <a:pt x="892" y="89"/>
                      <a:pt x="892" y="92"/>
                    </a:cubicBezTo>
                    <a:cubicBezTo>
                      <a:pt x="892" y="96"/>
                      <a:pt x="888" y="99"/>
                      <a:pt x="883" y="99"/>
                    </a:cubicBezTo>
                    <a:cubicBezTo>
                      <a:pt x="872" y="99"/>
                      <a:pt x="857" y="91"/>
                      <a:pt x="857" y="91"/>
                    </a:cubicBezTo>
                    <a:lnTo>
                      <a:pt x="856" y="110"/>
                    </a:lnTo>
                    <a:cubicBezTo>
                      <a:pt x="856" y="110"/>
                      <a:pt x="869" y="116"/>
                      <a:pt x="883" y="116"/>
                    </a:cubicBezTo>
                    <a:cubicBezTo>
                      <a:pt x="898" y="116"/>
                      <a:pt x="911" y="108"/>
                      <a:pt x="911" y="91"/>
                    </a:cubicBezTo>
                    <a:close/>
                    <a:moveTo>
                      <a:pt x="843" y="91"/>
                    </a:moveTo>
                    <a:cubicBezTo>
                      <a:pt x="843" y="73"/>
                      <a:pt x="826" y="70"/>
                      <a:pt x="813" y="64"/>
                    </a:cubicBezTo>
                    <a:cubicBezTo>
                      <a:pt x="810" y="63"/>
                      <a:pt x="807" y="61"/>
                      <a:pt x="807" y="58"/>
                    </a:cubicBezTo>
                    <a:cubicBezTo>
                      <a:pt x="807" y="56"/>
                      <a:pt x="809" y="52"/>
                      <a:pt x="815" y="52"/>
                    </a:cubicBezTo>
                    <a:cubicBezTo>
                      <a:pt x="825" y="52"/>
                      <a:pt x="837" y="57"/>
                      <a:pt x="837" y="57"/>
                    </a:cubicBezTo>
                    <a:lnTo>
                      <a:pt x="838" y="40"/>
                    </a:lnTo>
                    <a:cubicBezTo>
                      <a:pt x="838" y="40"/>
                      <a:pt x="828" y="36"/>
                      <a:pt x="816" y="36"/>
                    </a:cubicBezTo>
                    <a:cubicBezTo>
                      <a:pt x="801" y="36"/>
                      <a:pt x="788" y="44"/>
                      <a:pt x="788" y="60"/>
                    </a:cubicBezTo>
                    <a:cubicBezTo>
                      <a:pt x="788" y="77"/>
                      <a:pt x="805" y="80"/>
                      <a:pt x="817" y="85"/>
                    </a:cubicBezTo>
                    <a:cubicBezTo>
                      <a:pt x="820" y="87"/>
                      <a:pt x="823" y="89"/>
                      <a:pt x="823" y="92"/>
                    </a:cubicBezTo>
                    <a:cubicBezTo>
                      <a:pt x="823" y="96"/>
                      <a:pt x="819" y="99"/>
                      <a:pt x="815" y="99"/>
                    </a:cubicBezTo>
                    <a:cubicBezTo>
                      <a:pt x="803" y="99"/>
                      <a:pt x="788" y="91"/>
                      <a:pt x="788" y="91"/>
                    </a:cubicBezTo>
                    <a:lnTo>
                      <a:pt x="787" y="110"/>
                    </a:lnTo>
                    <a:cubicBezTo>
                      <a:pt x="787" y="110"/>
                      <a:pt x="800" y="116"/>
                      <a:pt x="814" y="116"/>
                    </a:cubicBezTo>
                    <a:cubicBezTo>
                      <a:pt x="829" y="116"/>
                      <a:pt x="843" y="108"/>
                      <a:pt x="843" y="91"/>
                    </a:cubicBezTo>
                    <a:close/>
                    <a:moveTo>
                      <a:pt x="749" y="94"/>
                    </a:moveTo>
                    <a:cubicBezTo>
                      <a:pt x="747" y="96"/>
                      <a:pt x="742" y="100"/>
                      <a:pt x="736" y="100"/>
                    </a:cubicBezTo>
                    <a:cubicBezTo>
                      <a:pt x="731" y="100"/>
                      <a:pt x="729" y="95"/>
                      <a:pt x="729" y="91"/>
                    </a:cubicBezTo>
                    <a:cubicBezTo>
                      <a:pt x="729" y="89"/>
                      <a:pt x="730" y="87"/>
                      <a:pt x="732" y="85"/>
                    </a:cubicBezTo>
                    <a:cubicBezTo>
                      <a:pt x="736" y="81"/>
                      <a:pt x="746" y="80"/>
                      <a:pt x="749" y="80"/>
                    </a:cubicBezTo>
                    <a:lnTo>
                      <a:pt x="749" y="94"/>
                    </a:lnTo>
                    <a:close/>
                    <a:moveTo>
                      <a:pt x="771" y="114"/>
                    </a:moveTo>
                    <a:cubicBezTo>
                      <a:pt x="771" y="114"/>
                      <a:pt x="770" y="107"/>
                      <a:pt x="770" y="98"/>
                    </a:cubicBezTo>
                    <a:lnTo>
                      <a:pt x="770" y="62"/>
                    </a:lnTo>
                    <a:cubicBezTo>
                      <a:pt x="770" y="54"/>
                      <a:pt x="769" y="48"/>
                      <a:pt x="765" y="43"/>
                    </a:cubicBezTo>
                    <a:cubicBezTo>
                      <a:pt x="761" y="39"/>
                      <a:pt x="755" y="36"/>
                      <a:pt x="745" y="36"/>
                    </a:cubicBezTo>
                    <a:cubicBezTo>
                      <a:pt x="729" y="36"/>
                      <a:pt x="714" y="43"/>
                      <a:pt x="714" y="43"/>
                    </a:cubicBezTo>
                    <a:lnTo>
                      <a:pt x="715" y="59"/>
                    </a:lnTo>
                    <a:cubicBezTo>
                      <a:pt x="720" y="56"/>
                      <a:pt x="731" y="52"/>
                      <a:pt x="741" y="52"/>
                    </a:cubicBezTo>
                    <a:cubicBezTo>
                      <a:pt x="747" y="52"/>
                      <a:pt x="749" y="55"/>
                      <a:pt x="749" y="61"/>
                    </a:cubicBezTo>
                    <a:lnTo>
                      <a:pt x="749" y="69"/>
                    </a:lnTo>
                    <a:cubicBezTo>
                      <a:pt x="740" y="69"/>
                      <a:pt x="725" y="70"/>
                      <a:pt x="716" y="77"/>
                    </a:cubicBezTo>
                    <a:cubicBezTo>
                      <a:pt x="711" y="81"/>
                      <a:pt x="709" y="85"/>
                      <a:pt x="709" y="92"/>
                    </a:cubicBezTo>
                    <a:cubicBezTo>
                      <a:pt x="709" y="102"/>
                      <a:pt x="714" y="115"/>
                      <a:pt x="730" y="115"/>
                    </a:cubicBezTo>
                    <a:cubicBezTo>
                      <a:pt x="741" y="115"/>
                      <a:pt x="751" y="107"/>
                      <a:pt x="751" y="107"/>
                    </a:cubicBezTo>
                    <a:cubicBezTo>
                      <a:pt x="751" y="110"/>
                      <a:pt x="751" y="114"/>
                      <a:pt x="751" y="114"/>
                    </a:cubicBezTo>
                    <a:lnTo>
                      <a:pt x="771" y="114"/>
                    </a:lnTo>
                    <a:close/>
                    <a:moveTo>
                      <a:pt x="701" y="12"/>
                    </a:moveTo>
                    <a:lnTo>
                      <a:pt x="679" y="11"/>
                    </a:lnTo>
                    <a:lnTo>
                      <a:pt x="667" y="61"/>
                    </a:lnTo>
                    <a:cubicBezTo>
                      <a:pt x="665" y="68"/>
                      <a:pt x="663" y="83"/>
                      <a:pt x="662" y="86"/>
                    </a:cubicBezTo>
                    <a:cubicBezTo>
                      <a:pt x="662" y="83"/>
                      <a:pt x="659" y="68"/>
                      <a:pt x="658" y="61"/>
                    </a:cubicBezTo>
                    <a:lnTo>
                      <a:pt x="646" y="11"/>
                    </a:lnTo>
                    <a:lnTo>
                      <a:pt x="624" y="11"/>
                    </a:lnTo>
                    <a:lnTo>
                      <a:pt x="613" y="61"/>
                    </a:lnTo>
                    <a:cubicBezTo>
                      <a:pt x="611" y="68"/>
                      <a:pt x="609" y="82"/>
                      <a:pt x="608" y="85"/>
                    </a:cubicBezTo>
                    <a:cubicBezTo>
                      <a:pt x="608" y="82"/>
                      <a:pt x="605" y="68"/>
                      <a:pt x="604" y="61"/>
                    </a:cubicBezTo>
                    <a:lnTo>
                      <a:pt x="592" y="10"/>
                    </a:lnTo>
                    <a:lnTo>
                      <a:pt x="570" y="11"/>
                    </a:lnTo>
                    <a:lnTo>
                      <a:pt x="597" y="114"/>
                    </a:lnTo>
                    <a:lnTo>
                      <a:pt x="619" y="114"/>
                    </a:lnTo>
                    <a:lnTo>
                      <a:pt x="630" y="67"/>
                    </a:lnTo>
                    <a:cubicBezTo>
                      <a:pt x="631" y="59"/>
                      <a:pt x="635" y="40"/>
                      <a:pt x="635" y="40"/>
                    </a:cubicBezTo>
                    <a:cubicBezTo>
                      <a:pt x="635" y="40"/>
                      <a:pt x="638" y="59"/>
                      <a:pt x="640" y="67"/>
                    </a:cubicBezTo>
                    <a:lnTo>
                      <a:pt x="650" y="114"/>
                    </a:lnTo>
                    <a:lnTo>
                      <a:pt x="673" y="114"/>
                    </a:lnTo>
                    <a:lnTo>
                      <a:pt x="701" y="12"/>
                    </a:lnTo>
                    <a:close/>
                    <a:moveTo>
                      <a:pt x="537" y="104"/>
                    </a:moveTo>
                    <a:cubicBezTo>
                      <a:pt x="537" y="98"/>
                      <a:pt x="533" y="92"/>
                      <a:pt x="525" y="92"/>
                    </a:cubicBezTo>
                    <a:cubicBezTo>
                      <a:pt x="516" y="92"/>
                      <a:pt x="512" y="98"/>
                      <a:pt x="512" y="104"/>
                    </a:cubicBezTo>
                    <a:cubicBezTo>
                      <a:pt x="512" y="110"/>
                      <a:pt x="516" y="116"/>
                      <a:pt x="525" y="116"/>
                    </a:cubicBezTo>
                    <a:cubicBezTo>
                      <a:pt x="533" y="116"/>
                      <a:pt x="537" y="110"/>
                      <a:pt x="537" y="104"/>
                    </a:cubicBezTo>
                    <a:close/>
                    <a:moveTo>
                      <a:pt x="476" y="68"/>
                    </a:moveTo>
                    <a:lnTo>
                      <a:pt x="452" y="68"/>
                    </a:lnTo>
                    <a:cubicBezTo>
                      <a:pt x="452" y="62"/>
                      <a:pt x="454" y="51"/>
                      <a:pt x="464" y="51"/>
                    </a:cubicBezTo>
                    <a:cubicBezTo>
                      <a:pt x="474" y="51"/>
                      <a:pt x="476" y="62"/>
                      <a:pt x="476" y="68"/>
                    </a:cubicBezTo>
                    <a:moveTo>
                      <a:pt x="496" y="74"/>
                    </a:moveTo>
                    <a:cubicBezTo>
                      <a:pt x="496" y="56"/>
                      <a:pt x="489" y="36"/>
                      <a:pt x="464" y="36"/>
                    </a:cubicBezTo>
                    <a:cubicBezTo>
                      <a:pt x="441" y="36"/>
                      <a:pt x="431" y="56"/>
                      <a:pt x="431" y="76"/>
                    </a:cubicBezTo>
                    <a:cubicBezTo>
                      <a:pt x="431" y="90"/>
                      <a:pt x="435" y="115"/>
                      <a:pt x="462" y="115"/>
                    </a:cubicBezTo>
                    <a:cubicBezTo>
                      <a:pt x="483" y="115"/>
                      <a:pt x="495" y="108"/>
                      <a:pt x="495" y="108"/>
                    </a:cubicBezTo>
                    <a:lnTo>
                      <a:pt x="494" y="92"/>
                    </a:lnTo>
                    <a:cubicBezTo>
                      <a:pt x="494" y="92"/>
                      <a:pt x="480" y="100"/>
                      <a:pt x="466" y="100"/>
                    </a:cubicBezTo>
                    <a:cubicBezTo>
                      <a:pt x="457" y="100"/>
                      <a:pt x="452" y="94"/>
                      <a:pt x="452" y="80"/>
                    </a:cubicBezTo>
                    <a:lnTo>
                      <a:pt x="496" y="80"/>
                    </a:lnTo>
                    <a:cubicBezTo>
                      <a:pt x="496" y="80"/>
                      <a:pt x="496" y="76"/>
                      <a:pt x="496" y="74"/>
                    </a:cubicBezTo>
                    <a:moveTo>
                      <a:pt x="413" y="114"/>
                    </a:moveTo>
                    <a:lnTo>
                      <a:pt x="413" y="54"/>
                    </a:lnTo>
                    <a:cubicBezTo>
                      <a:pt x="413" y="48"/>
                      <a:pt x="412" y="38"/>
                      <a:pt x="412" y="38"/>
                    </a:cubicBezTo>
                    <a:lnTo>
                      <a:pt x="393" y="38"/>
                    </a:lnTo>
                    <a:lnTo>
                      <a:pt x="393" y="114"/>
                    </a:lnTo>
                    <a:lnTo>
                      <a:pt x="413" y="114"/>
                    </a:lnTo>
                    <a:close/>
                    <a:moveTo>
                      <a:pt x="416" y="12"/>
                    </a:moveTo>
                    <a:cubicBezTo>
                      <a:pt x="416" y="6"/>
                      <a:pt x="411" y="0"/>
                      <a:pt x="403" y="0"/>
                    </a:cubicBezTo>
                    <a:cubicBezTo>
                      <a:pt x="395" y="0"/>
                      <a:pt x="391" y="6"/>
                      <a:pt x="391" y="12"/>
                    </a:cubicBezTo>
                    <a:cubicBezTo>
                      <a:pt x="391" y="18"/>
                      <a:pt x="395" y="24"/>
                      <a:pt x="403" y="24"/>
                    </a:cubicBezTo>
                    <a:cubicBezTo>
                      <a:pt x="411" y="24"/>
                      <a:pt x="416" y="18"/>
                      <a:pt x="416" y="12"/>
                    </a:cubicBezTo>
                    <a:close/>
                    <a:moveTo>
                      <a:pt x="353" y="88"/>
                    </a:moveTo>
                    <a:cubicBezTo>
                      <a:pt x="347" y="95"/>
                      <a:pt x="341" y="97"/>
                      <a:pt x="337" y="97"/>
                    </a:cubicBezTo>
                    <a:cubicBezTo>
                      <a:pt x="328" y="97"/>
                      <a:pt x="326" y="83"/>
                      <a:pt x="326" y="75"/>
                    </a:cubicBezTo>
                    <a:cubicBezTo>
                      <a:pt x="326" y="66"/>
                      <a:pt x="327" y="53"/>
                      <a:pt x="339" y="53"/>
                    </a:cubicBezTo>
                    <a:cubicBezTo>
                      <a:pt x="343" y="53"/>
                      <a:pt x="347" y="54"/>
                      <a:pt x="353" y="57"/>
                    </a:cubicBezTo>
                    <a:lnTo>
                      <a:pt x="353" y="88"/>
                    </a:lnTo>
                    <a:close/>
                    <a:moveTo>
                      <a:pt x="375" y="38"/>
                    </a:moveTo>
                    <a:lnTo>
                      <a:pt x="355" y="38"/>
                    </a:lnTo>
                    <a:cubicBezTo>
                      <a:pt x="355" y="38"/>
                      <a:pt x="354" y="40"/>
                      <a:pt x="354" y="42"/>
                    </a:cubicBezTo>
                    <a:cubicBezTo>
                      <a:pt x="352" y="41"/>
                      <a:pt x="345" y="36"/>
                      <a:pt x="336" y="36"/>
                    </a:cubicBezTo>
                    <a:cubicBezTo>
                      <a:pt x="315" y="36"/>
                      <a:pt x="305" y="53"/>
                      <a:pt x="305" y="75"/>
                    </a:cubicBezTo>
                    <a:cubicBezTo>
                      <a:pt x="305" y="90"/>
                      <a:pt x="310" y="114"/>
                      <a:pt x="332" y="114"/>
                    </a:cubicBezTo>
                    <a:cubicBezTo>
                      <a:pt x="344" y="114"/>
                      <a:pt x="352" y="105"/>
                      <a:pt x="353" y="103"/>
                    </a:cubicBezTo>
                    <a:cubicBezTo>
                      <a:pt x="353" y="103"/>
                      <a:pt x="353" y="108"/>
                      <a:pt x="353" y="110"/>
                    </a:cubicBezTo>
                    <a:lnTo>
                      <a:pt x="353" y="115"/>
                    </a:lnTo>
                    <a:cubicBezTo>
                      <a:pt x="353" y="117"/>
                      <a:pt x="353" y="119"/>
                      <a:pt x="352" y="121"/>
                    </a:cubicBezTo>
                    <a:cubicBezTo>
                      <a:pt x="351" y="125"/>
                      <a:pt x="347" y="128"/>
                      <a:pt x="338" y="128"/>
                    </a:cubicBezTo>
                    <a:cubicBezTo>
                      <a:pt x="323" y="128"/>
                      <a:pt x="310" y="122"/>
                      <a:pt x="310" y="122"/>
                    </a:cubicBezTo>
                    <a:lnTo>
                      <a:pt x="309" y="140"/>
                    </a:lnTo>
                    <a:cubicBezTo>
                      <a:pt x="309" y="140"/>
                      <a:pt x="320" y="146"/>
                      <a:pt x="338" y="146"/>
                    </a:cubicBezTo>
                    <a:cubicBezTo>
                      <a:pt x="357" y="146"/>
                      <a:pt x="369" y="139"/>
                      <a:pt x="373" y="125"/>
                    </a:cubicBezTo>
                    <a:cubicBezTo>
                      <a:pt x="373" y="122"/>
                      <a:pt x="373" y="116"/>
                      <a:pt x="373" y="112"/>
                    </a:cubicBezTo>
                    <a:lnTo>
                      <a:pt x="373" y="56"/>
                    </a:lnTo>
                    <a:cubicBezTo>
                      <a:pt x="373" y="47"/>
                      <a:pt x="375" y="38"/>
                      <a:pt x="375" y="38"/>
                    </a:cubicBezTo>
                    <a:moveTo>
                      <a:pt x="294" y="38"/>
                    </a:moveTo>
                    <a:cubicBezTo>
                      <a:pt x="294" y="38"/>
                      <a:pt x="293" y="37"/>
                      <a:pt x="285" y="37"/>
                    </a:cubicBezTo>
                    <a:cubicBezTo>
                      <a:pt x="279" y="37"/>
                      <a:pt x="273" y="42"/>
                      <a:pt x="270" y="45"/>
                    </a:cubicBezTo>
                    <a:cubicBezTo>
                      <a:pt x="270" y="46"/>
                      <a:pt x="269" y="47"/>
                      <a:pt x="269" y="47"/>
                    </a:cubicBezTo>
                    <a:cubicBezTo>
                      <a:pt x="269" y="43"/>
                      <a:pt x="268" y="38"/>
                      <a:pt x="268" y="38"/>
                    </a:cubicBezTo>
                    <a:lnTo>
                      <a:pt x="248" y="38"/>
                    </a:lnTo>
                    <a:cubicBezTo>
                      <a:pt x="248" y="38"/>
                      <a:pt x="249" y="47"/>
                      <a:pt x="249" y="56"/>
                    </a:cubicBezTo>
                    <a:lnTo>
                      <a:pt x="249" y="114"/>
                    </a:lnTo>
                    <a:lnTo>
                      <a:pt x="270" y="114"/>
                    </a:lnTo>
                    <a:lnTo>
                      <a:pt x="270" y="60"/>
                    </a:lnTo>
                    <a:cubicBezTo>
                      <a:pt x="275" y="56"/>
                      <a:pt x="279" y="53"/>
                      <a:pt x="282" y="53"/>
                    </a:cubicBezTo>
                    <a:cubicBezTo>
                      <a:pt x="288" y="53"/>
                      <a:pt x="292" y="54"/>
                      <a:pt x="292" y="54"/>
                    </a:cubicBezTo>
                    <a:lnTo>
                      <a:pt x="294" y="38"/>
                    </a:lnTo>
                    <a:close/>
                    <a:moveTo>
                      <a:pt x="211" y="68"/>
                    </a:moveTo>
                    <a:lnTo>
                      <a:pt x="187" y="68"/>
                    </a:lnTo>
                    <a:cubicBezTo>
                      <a:pt x="187" y="62"/>
                      <a:pt x="189" y="51"/>
                      <a:pt x="198" y="51"/>
                    </a:cubicBezTo>
                    <a:cubicBezTo>
                      <a:pt x="209" y="51"/>
                      <a:pt x="211" y="62"/>
                      <a:pt x="211" y="68"/>
                    </a:cubicBezTo>
                    <a:moveTo>
                      <a:pt x="231" y="74"/>
                    </a:moveTo>
                    <a:cubicBezTo>
                      <a:pt x="231" y="56"/>
                      <a:pt x="224" y="36"/>
                      <a:pt x="198" y="36"/>
                    </a:cubicBezTo>
                    <a:cubicBezTo>
                      <a:pt x="176" y="36"/>
                      <a:pt x="165" y="56"/>
                      <a:pt x="165" y="76"/>
                    </a:cubicBezTo>
                    <a:cubicBezTo>
                      <a:pt x="165" y="90"/>
                      <a:pt x="170" y="115"/>
                      <a:pt x="197" y="115"/>
                    </a:cubicBezTo>
                    <a:cubicBezTo>
                      <a:pt x="218" y="115"/>
                      <a:pt x="230" y="108"/>
                      <a:pt x="230" y="108"/>
                    </a:cubicBezTo>
                    <a:lnTo>
                      <a:pt x="229" y="92"/>
                    </a:lnTo>
                    <a:cubicBezTo>
                      <a:pt x="229" y="92"/>
                      <a:pt x="214" y="100"/>
                      <a:pt x="200" y="100"/>
                    </a:cubicBezTo>
                    <a:cubicBezTo>
                      <a:pt x="191" y="100"/>
                      <a:pt x="187" y="94"/>
                      <a:pt x="187" y="80"/>
                    </a:cubicBezTo>
                    <a:lnTo>
                      <a:pt x="231" y="80"/>
                    </a:lnTo>
                    <a:cubicBezTo>
                      <a:pt x="231" y="80"/>
                      <a:pt x="231" y="76"/>
                      <a:pt x="231" y="74"/>
                    </a:cubicBezTo>
                    <a:moveTo>
                      <a:pt x="148" y="114"/>
                    </a:moveTo>
                    <a:lnTo>
                      <a:pt x="148" y="62"/>
                    </a:lnTo>
                    <a:cubicBezTo>
                      <a:pt x="148" y="55"/>
                      <a:pt x="147" y="49"/>
                      <a:pt x="144" y="45"/>
                    </a:cubicBezTo>
                    <a:cubicBezTo>
                      <a:pt x="141" y="39"/>
                      <a:pt x="135" y="36"/>
                      <a:pt x="126" y="36"/>
                    </a:cubicBezTo>
                    <a:cubicBezTo>
                      <a:pt x="115" y="36"/>
                      <a:pt x="104" y="45"/>
                      <a:pt x="101" y="48"/>
                    </a:cubicBezTo>
                    <a:cubicBezTo>
                      <a:pt x="101" y="43"/>
                      <a:pt x="101" y="38"/>
                      <a:pt x="101" y="38"/>
                    </a:cubicBezTo>
                    <a:lnTo>
                      <a:pt x="81" y="38"/>
                    </a:lnTo>
                    <a:cubicBezTo>
                      <a:pt x="81" y="38"/>
                      <a:pt x="82" y="47"/>
                      <a:pt x="82" y="56"/>
                    </a:cubicBezTo>
                    <a:lnTo>
                      <a:pt x="82" y="114"/>
                    </a:lnTo>
                    <a:lnTo>
                      <a:pt x="102" y="114"/>
                    </a:lnTo>
                    <a:lnTo>
                      <a:pt x="102" y="62"/>
                    </a:lnTo>
                    <a:cubicBezTo>
                      <a:pt x="105" y="59"/>
                      <a:pt x="112" y="54"/>
                      <a:pt x="119" y="54"/>
                    </a:cubicBezTo>
                    <a:cubicBezTo>
                      <a:pt x="124" y="54"/>
                      <a:pt x="128" y="55"/>
                      <a:pt x="128" y="64"/>
                    </a:cubicBezTo>
                    <a:lnTo>
                      <a:pt x="128" y="114"/>
                    </a:lnTo>
                    <a:lnTo>
                      <a:pt x="148" y="114"/>
                    </a:lnTo>
                    <a:close/>
                    <a:moveTo>
                      <a:pt x="66" y="114"/>
                    </a:moveTo>
                    <a:lnTo>
                      <a:pt x="66" y="96"/>
                    </a:lnTo>
                    <a:lnTo>
                      <a:pt x="21" y="96"/>
                    </a:lnTo>
                    <a:lnTo>
                      <a:pt x="21" y="69"/>
                    </a:lnTo>
                    <a:lnTo>
                      <a:pt x="57" y="69"/>
                    </a:lnTo>
                    <a:lnTo>
                      <a:pt x="57" y="52"/>
                    </a:lnTo>
                    <a:lnTo>
                      <a:pt x="21" y="52"/>
                    </a:lnTo>
                    <a:lnTo>
                      <a:pt x="21" y="29"/>
                    </a:lnTo>
                    <a:lnTo>
                      <a:pt x="62" y="29"/>
                    </a:lnTo>
                    <a:lnTo>
                      <a:pt x="64" y="11"/>
                    </a:lnTo>
                    <a:lnTo>
                      <a:pt x="0" y="11"/>
                    </a:lnTo>
                    <a:lnTo>
                      <a:pt x="0" y="114"/>
                    </a:lnTo>
                    <a:lnTo>
                      <a:pt x="66" y="1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" name="Freeform 39">
                <a:extLst>
                  <a:ext uri="{FF2B5EF4-FFF2-40B4-BE49-F238E27FC236}">
                    <a16:creationId xmlns:a16="http://schemas.microsoft.com/office/drawing/2014/main" id="{00F058F1-69EE-4BBD-8ADE-11F9C49B3E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29374" y="990263"/>
                <a:ext cx="354012" cy="273050"/>
              </a:xfrm>
              <a:custGeom>
                <a:avLst/>
                <a:gdLst>
                  <a:gd name="T0" fmla="*/ 0 w 443"/>
                  <a:gd name="T1" fmla="*/ 0 h 341"/>
                  <a:gd name="T2" fmla="*/ 0 w 443"/>
                  <a:gd name="T3" fmla="*/ 217 h 341"/>
                  <a:gd name="T4" fmla="*/ 131 w 443"/>
                  <a:gd name="T5" fmla="*/ 341 h 341"/>
                  <a:gd name="T6" fmla="*/ 222 w 443"/>
                  <a:gd name="T7" fmla="*/ 300 h 341"/>
                  <a:gd name="T8" fmla="*/ 313 w 443"/>
                  <a:gd name="T9" fmla="*/ 341 h 341"/>
                  <a:gd name="T10" fmla="*/ 443 w 443"/>
                  <a:gd name="T11" fmla="*/ 217 h 341"/>
                  <a:gd name="T12" fmla="*/ 443 w 443"/>
                  <a:gd name="T13" fmla="*/ 0 h 341"/>
                  <a:gd name="T14" fmla="*/ 365 w 443"/>
                  <a:gd name="T15" fmla="*/ 0 h 341"/>
                  <a:gd name="T16" fmla="*/ 365 w 443"/>
                  <a:gd name="T17" fmla="*/ 219 h 341"/>
                  <a:gd name="T18" fmla="*/ 313 w 443"/>
                  <a:gd name="T19" fmla="*/ 268 h 341"/>
                  <a:gd name="T20" fmla="*/ 261 w 443"/>
                  <a:gd name="T21" fmla="*/ 219 h 341"/>
                  <a:gd name="T22" fmla="*/ 261 w 443"/>
                  <a:gd name="T23" fmla="*/ 0 h 341"/>
                  <a:gd name="T24" fmla="*/ 183 w 443"/>
                  <a:gd name="T25" fmla="*/ 0 h 341"/>
                  <a:gd name="T26" fmla="*/ 183 w 443"/>
                  <a:gd name="T27" fmla="*/ 219 h 341"/>
                  <a:gd name="T28" fmla="*/ 131 w 443"/>
                  <a:gd name="T29" fmla="*/ 268 h 341"/>
                  <a:gd name="T30" fmla="*/ 79 w 443"/>
                  <a:gd name="T31" fmla="*/ 219 h 341"/>
                  <a:gd name="T32" fmla="*/ 79 w 443"/>
                  <a:gd name="T33" fmla="*/ 0 h 341"/>
                  <a:gd name="T34" fmla="*/ 0 w 443"/>
                  <a:gd name="T35" fmla="*/ 0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3" h="341">
                    <a:moveTo>
                      <a:pt x="0" y="0"/>
                    </a:moveTo>
                    <a:lnTo>
                      <a:pt x="0" y="217"/>
                    </a:lnTo>
                    <a:cubicBezTo>
                      <a:pt x="0" y="285"/>
                      <a:pt x="59" y="341"/>
                      <a:pt x="131" y="341"/>
                    </a:cubicBezTo>
                    <a:cubicBezTo>
                      <a:pt x="165" y="341"/>
                      <a:pt x="205" y="322"/>
                      <a:pt x="222" y="300"/>
                    </a:cubicBezTo>
                    <a:cubicBezTo>
                      <a:pt x="239" y="322"/>
                      <a:pt x="279" y="341"/>
                      <a:pt x="313" y="341"/>
                    </a:cubicBezTo>
                    <a:cubicBezTo>
                      <a:pt x="385" y="341"/>
                      <a:pt x="443" y="285"/>
                      <a:pt x="443" y="217"/>
                    </a:cubicBezTo>
                    <a:lnTo>
                      <a:pt x="443" y="0"/>
                    </a:lnTo>
                    <a:lnTo>
                      <a:pt x="365" y="0"/>
                    </a:lnTo>
                    <a:lnTo>
                      <a:pt x="365" y="219"/>
                    </a:lnTo>
                    <a:cubicBezTo>
                      <a:pt x="365" y="246"/>
                      <a:pt x="342" y="268"/>
                      <a:pt x="313" y="268"/>
                    </a:cubicBezTo>
                    <a:cubicBezTo>
                      <a:pt x="285" y="268"/>
                      <a:pt x="261" y="246"/>
                      <a:pt x="261" y="219"/>
                    </a:cubicBezTo>
                    <a:lnTo>
                      <a:pt x="261" y="0"/>
                    </a:lnTo>
                    <a:lnTo>
                      <a:pt x="183" y="0"/>
                    </a:lnTo>
                    <a:lnTo>
                      <a:pt x="183" y="219"/>
                    </a:lnTo>
                    <a:cubicBezTo>
                      <a:pt x="183" y="246"/>
                      <a:pt x="159" y="268"/>
                      <a:pt x="131" y="268"/>
                    </a:cubicBezTo>
                    <a:cubicBezTo>
                      <a:pt x="102" y="268"/>
                      <a:pt x="79" y="246"/>
                      <a:pt x="79" y="219"/>
                    </a:cubicBez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" name="Freeform 40">
                <a:extLst>
                  <a:ext uri="{FF2B5EF4-FFF2-40B4-BE49-F238E27FC236}">
                    <a16:creationId xmlns:a16="http://schemas.microsoft.com/office/drawing/2014/main" id="{E434CE9D-1FE1-41C8-844C-417651D96A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30924" y="982325"/>
                <a:ext cx="276225" cy="277813"/>
              </a:xfrm>
              <a:custGeom>
                <a:avLst/>
                <a:gdLst>
                  <a:gd name="T0" fmla="*/ 345 w 347"/>
                  <a:gd name="T1" fmla="*/ 199 h 348"/>
                  <a:gd name="T2" fmla="*/ 347 w 347"/>
                  <a:gd name="T3" fmla="*/ 174 h 348"/>
                  <a:gd name="T4" fmla="*/ 174 w 347"/>
                  <a:gd name="T5" fmla="*/ 0 h 348"/>
                  <a:gd name="T6" fmla="*/ 0 w 347"/>
                  <a:gd name="T7" fmla="*/ 174 h 348"/>
                  <a:gd name="T8" fmla="*/ 174 w 347"/>
                  <a:gd name="T9" fmla="*/ 348 h 348"/>
                  <a:gd name="T10" fmla="*/ 336 w 347"/>
                  <a:gd name="T11" fmla="*/ 237 h 348"/>
                  <a:gd name="T12" fmla="*/ 254 w 347"/>
                  <a:gd name="T13" fmla="*/ 237 h 348"/>
                  <a:gd name="T14" fmla="*/ 174 w 347"/>
                  <a:gd name="T15" fmla="*/ 276 h 348"/>
                  <a:gd name="T16" fmla="*/ 71 w 347"/>
                  <a:gd name="T17" fmla="*/ 174 h 348"/>
                  <a:gd name="T18" fmla="*/ 174 w 347"/>
                  <a:gd name="T19" fmla="*/ 71 h 348"/>
                  <a:gd name="T20" fmla="*/ 265 w 347"/>
                  <a:gd name="T21" fmla="*/ 128 h 348"/>
                  <a:gd name="T22" fmla="*/ 141 w 347"/>
                  <a:gd name="T23" fmla="*/ 128 h 348"/>
                  <a:gd name="T24" fmla="*/ 141 w 347"/>
                  <a:gd name="T25" fmla="*/ 199 h 348"/>
                  <a:gd name="T26" fmla="*/ 345 w 347"/>
                  <a:gd name="T27" fmla="*/ 199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7" h="348">
                    <a:moveTo>
                      <a:pt x="345" y="199"/>
                    </a:moveTo>
                    <a:cubicBezTo>
                      <a:pt x="347" y="191"/>
                      <a:pt x="347" y="183"/>
                      <a:pt x="347" y="174"/>
                    </a:cubicBezTo>
                    <a:cubicBezTo>
                      <a:pt x="347" y="78"/>
                      <a:pt x="270" y="0"/>
                      <a:pt x="174" y="0"/>
                    </a:cubicBezTo>
                    <a:cubicBezTo>
                      <a:pt x="78" y="0"/>
                      <a:pt x="0" y="78"/>
                      <a:pt x="0" y="174"/>
                    </a:cubicBezTo>
                    <a:cubicBezTo>
                      <a:pt x="0" y="270"/>
                      <a:pt x="78" y="348"/>
                      <a:pt x="174" y="348"/>
                    </a:cubicBezTo>
                    <a:cubicBezTo>
                      <a:pt x="248" y="348"/>
                      <a:pt x="310" y="301"/>
                      <a:pt x="336" y="237"/>
                    </a:cubicBezTo>
                    <a:lnTo>
                      <a:pt x="254" y="237"/>
                    </a:lnTo>
                    <a:cubicBezTo>
                      <a:pt x="235" y="260"/>
                      <a:pt x="206" y="276"/>
                      <a:pt x="174" y="276"/>
                    </a:cubicBezTo>
                    <a:cubicBezTo>
                      <a:pt x="117" y="276"/>
                      <a:pt x="71" y="230"/>
                      <a:pt x="71" y="174"/>
                    </a:cubicBezTo>
                    <a:cubicBezTo>
                      <a:pt x="71" y="117"/>
                      <a:pt x="117" y="71"/>
                      <a:pt x="174" y="71"/>
                    </a:cubicBezTo>
                    <a:cubicBezTo>
                      <a:pt x="214" y="71"/>
                      <a:pt x="248" y="95"/>
                      <a:pt x="265" y="128"/>
                    </a:cubicBezTo>
                    <a:lnTo>
                      <a:pt x="141" y="128"/>
                    </a:lnTo>
                    <a:lnTo>
                      <a:pt x="141" y="199"/>
                    </a:lnTo>
                    <a:lnTo>
                      <a:pt x="345" y="19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" name="Freeform 41">
                <a:extLst>
                  <a:ext uri="{FF2B5EF4-FFF2-40B4-BE49-F238E27FC236}">
                    <a16:creationId xmlns:a16="http://schemas.microsoft.com/office/drawing/2014/main" id="{BBB5E07F-A6F4-4315-AD65-C9C277A678F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34061" y="868025"/>
                <a:ext cx="276225" cy="395288"/>
              </a:xfrm>
              <a:custGeom>
                <a:avLst/>
                <a:gdLst>
                  <a:gd name="T0" fmla="*/ 273 w 347"/>
                  <a:gd name="T1" fmla="*/ 0 h 496"/>
                  <a:gd name="T2" fmla="*/ 273 w 347"/>
                  <a:gd name="T3" fmla="*/ 184 h 496"/>
                  <a:gd name="T4" fmla="*/ 173 w 347"/>
                  <a:gd name="T5" fmla="*/ 150 h 496"/>
                  <a:gd name="T6" fmla="*/ 0 w 347"/>
                  <a:gd name="T7" fmla="*/ 323 h 496"/>
                  <a:gd name="T8" fmla="*/ 173 w 347"/>
                  <a:gd name="T9" fmla="*/ 496 h 496"/>
                  <a:gd name="T10" fmla="*/ 273 w 347"/>
                  <a:gd name="T11" fmla="*/ 463 h 496"/>
                  <a:gd name="T12" fmla="*/ 273 w 347"/>
                  <a:gd name="T13" fmla="*/ 492 h 496"/>
                  <a:gd name="T14" fmla="*/ 347 w 347"/>
                  <a:gd name="T15" fmla="*/ 492 h 496"/>
                  <a:gd name="T16" fmla="*/ 347 w 347"/>
                  <a:gd name="T17" fmla="*/ 0 h 496"/>
                  <a:gd name="T18" fmla="*/ 273 w 347"/>
                  <a:gd name="T19" fmla="*/ 0 h 496"/>
                  <a:gd name="T20" fmla="*/ 196 w 347"/>
                  <a:gd name="T21" fmla="*/ 421 h 496"/>
                  <a:gd name="T22" fmla="*/ 173 w 347"/>
                  <a:gd name="T23" fmla="*/ 425 h 496"/>
                  <a:gd name="T24" fmla="*/ 134 w 347"/>
                  <a:gd name="T25" fmla="*/ 416 h 496"/>
                  <a:gd name="T26" fmla="*/ 71 w 347"/>
                  <a:gd name="T27" fmla="*/ 321 h 496"/>
                  <a:gd name="T28" fmla="*/ 173 w 347"/>
                  <a:gd name="T29" fmla="*/ 219 h 496"/>
                  <a:gd name="T30" fmla="*/ 276 w 347"/>
                  <a:gd name="T31" fmla="*/ 321 h 496"/>
                  <a:gd name="T32" fmla="*/ 196 w 347"/>
                  <a:gd name="T33" fmla="*/ 421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7" h="496">
                    <a:moveTo>
                      <a:pt x="273" y="0"/>
                    </a:moveTo>
                    <a:lnTo>
                      <a:pt x="273" y="184"/>
                    </a:lnTo>
                    <a:cubicBezTo>
                      <a:pt x="245" y="163"/>
                      <a:pt x="211" y="150"/>
                      <a:pt x="173" y="150"/>
                    </a:cubicBezTo>
                    <a:cubicBezTo>
                      <a:pt x="77" y="150"/>
                      <a:pt x="0" y="227"/>
                      <a:pt x="0" y="323"/>
                    </a:cubicBezTo>
                    <a:cubicBezTo>
                      <a:pt x="0" y="418"/>
                      <a:pt x="77" y="496"/>
                      <a:pt x="173" y="496"/>
                    </a:cubicBezTo>
                    <a:cubicBezTo>
                      <a:pt x="211" y="496"/>
                      <a:pt x="245" y="484"/>
                      <a:pt x="273" y="463"/>
                    </a:cubicBezTo>
                    <a:lnTo>
                      <a:pt x="273" y="492"/>
                    </a:lnTo>
                    <a:lnTo>
                      <a:pt x="347" y="492"/>
                    </a:lnTo>
                    <a:lnTo>
                      <a:pt x="347" y="0"/>
                    </a:lnTo>
                    <a:lnTo>
                      <a:pt x="273" y="0"/>
                    </a:lnTo>
                    <a:close/>
                    <a:moveTo>
                      <a:pt x="196" y="421"/>
                    </a:moveTo>
                    <a:cubicBezTo>
                      <a:pt x="189" y="423"/>
                      <a:pt x="181" y="425"/>
                      <a:pt x="173" y="425"/>
                    </a:cubicBezTo>
                    <a:cubicBezTo>
                      <a:pt x="159" y="425"/>
                      <a:pt x="146" y="421"/>
                      <a:pt x="134" y="416"/>
                    </a:cubicBezTo>
                    <a:cubicBezTo>
                      <a:pt x="97" y="401"/>
                      <a:pt x="71" y="364"/>
                      <a:pt x="71" y="321"/>
                    </a:cubicBezTo>
                    <a:cubicBezTo>
                      <a:pt x="71" y="265"/>
                      <a:pt x="117" y="219"/>
                      <a:pt x="173" y="219"/>
                    </a:cubicBezTo>
                    <a:cubicBezTo>
                      <a:pt x="230" y="219"/>
                      <a:pt x="276" y="265"/>
                      <a:pt x="276" y="321"/>
                    </a:cubicBezTo>
                    <a:cubicBezTo>
                      <a:pt x="276" y="370"/>
                      <a:pt x="242" y="411"/>
                      <a:pt x="196" y="42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" name="Freeform 42">
                <a:extLst>
                  <a:ext uri="{FF2B5EF4-FFF2-40B4-BE49-F238E27FC236}">
                    <a16:creationId xmlns:a16="http://schemas.microsoft.com/office/drawing/2014/main" id="{9AF2ED87-6699-4980-BBB8-7F6D1D4D718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868025"/>
                <a:ext cx="277812" cy="395288"/>
              </a:xfrm>
              <a:custGeom>
                <a:avLst/>
                <a:gdLst>
                  <a:gd name="T0" fmla="*/ 175 w 348"/>
                  <a:gd name="T1" fmla="*/ 150 h 496"/>
                  <a:gd name="T2" fmla="*/ 75 w 348"/>
                  <a:gd name="T3" fmla="*/ 184 h 496"/>
                  <a:gd name="T4" fmla="*/ 75 w 348"/>
                  <a:gd name="T5" fmla="*/ 0 h 496"/>
                  <a:gd name="T6" fmla="*/ 0 w 348"/>
                  <a:gd name="T7" fmla="*/ 0 h 496"/>
                  <a:gd name="T8" fmla="*/ 0 w 348"/>
                  <a:gd name="T9" fmla="*/ 492 h 496"/>
                  <a:gd name="T10" fmla="*/ 75 w 348"/>
                  <a:gd name="T11" fmla="*/ 492 h 496"/>
                  <a:gd name="T12" fmla="*/ 75 w 348"/>
                  <a:gd name="T13" fmla="*/ 463 h 496"/>
                  <a:gd name="T14" fmla="*/ 175 w 348"/>
                  <a:gd name="T15" fmla="*/ 496 h 496"/>
                  <a:gd name="T16" fmla="*/ 348 w 348"/>
                  <a:gd name="T17" fmla="*/ 323 h 496"/>
                  <a:gd name="T18" fmla="*/ 175 w 348"/>
                  <a:gd name="T19" fmla="*/ 150 h 496"/>
                  <a:gd name="T20" fmla="*/ 214 w 348"/>
                  <a:gd name="T21" fmla="*/ 416 h 496"/>
                  <a:gd name="T22" fmla="*/ 175 w 348"/>
                  <a:gd name="T23" fmla="*/ 425 h 496"/>
                  <a:gd name="T24" fmla="*/ 152 w 348"/>
                  <a:gd name="T25" fmla="*/ 421 h 496"/>
                  <a:gd name="T26" fmla="*/ 72 w 348"/>
                  <a:gd name="T27" fmla="*/ 321 h 496"/>
                  <a:gd name="T28" fmla="*/ 175 w 348"/>
                  <a:gd name="T29" fmla="*/ 219 h 496"/>
                  <a:gd name="T30" fmla="*/ 277 w 348"/>
                  <a:gd name="T31" fmla="*/ 321 h 496"/>
                  <a:gd name="T32" fmla="*/ 214 w 348"/>
                  <a:gd name="T33" fmla="*/ 41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8" h="496">
                    <a:moveTo>
                      <a:pt x="175" y="150"/>
                    </a:moveTo>
                    <a:cubicBezTo>
                      <a:pt x="137" y="150"/>
                      <a:pt x="103" y="163"/>
                      <a:pt x="75" y="184"/>
                    </a:cubicBezTo>
                    <a:lnTo>
                      <a:pt x="75" y="0"/>
                    </a:lnTo>
                    <a:lnTo>
                      <a:pt x="0" y="0"/>
                    </a:lnTo>
                    <a:lnTo>
                      <a:pt x="0" y="492"/>
                    </a:lnTo>
                    <a:lnTo>
                      <a:pt x="75" y="492"/>
                    </a:lnTo>
                    <a:lnTo>
                      <a:pt x="75" y="463"/>
                    </a:lnTo>
                    <a:cubicBezTo>
                      <a:pt x="103" y="484"/>
                      <a:pt x="137" y="496"/>
                      <a:pt x="175" y="496"/>
                    </a:cubicBezTo>
                    <a:cubicBezTo>
                      <a:pt x="271" y="496"/>
                      <a:pt x="348" y="418"/>
                      <a:pt x="348" y="323"/>
                    </a:cubicBezTo>
                    <a:cubicBezTo>
                      <a:pt x="348" y="227"/>
                      <a:pt x="271" y="150"/>
                      <a:pt x="175" y="150"/>
                    </a:cubicBezTo>
                    <a:close/>
                    <a:moveTo>
                      <a:pt x="214" y="416"/>
                    </a:moveTo>
                    <a:cubicBezTo>
                      <a:pt x="202" y="421"/>
                      <a:pt x="189" y="425"/>
                      <a:pt x="175" y="425"/>
                    </a:cubicBezTo>
                    <a:cubicBezTo>
                      <a:pt x="167" y="425"/>
                      <a:pt x="159" y="423"/>
                      <a:pt x="152" y="421"/>
                    </a:cubicBezTo>
                    <a:cubicBezTo>
                      <a:pt x="106" y="411"/>
                      <a:pt x="72" y="370"/>
                      <a:pt x="72" y="321"/>
                    </a:cubicBezTo>
                    <a:cubicBezTo>
                      <a:pt x="72" y="265"/>
                      <a:pt x="118" y="219"/>
                      <a:pt x="175" y="219"/>
                    </a:cubicBezTo>
                    <a:cubicBezTo>
                      <a:pt x="231" y="219"/>
                      <a:pt x="277" y="265"/>
                      <a:pt x="277" y="321"/>
                    </a:cubicBezTo>
                    <a:cubicBezTo>
                      <a:pt x="277" y="364"/>
                      <a:pt x="251" y="401"/>
                      <a:pt x="214" y="4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18" name="Datumsplatzhalter 1">
            <a:extLst>
              <a:ext uri="{FF2B5EF4-FFF2-40B4-BE49-F238E27FC236}">
                <a16:creationId xmlns:a16="http://schemas.microsoft.com/office/drawing/2014/main" id="{43DD7F9F-2855-4830-A373-AF49F7C61D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1255" y="4680000"/>
            <a:ext cx="504000" cy="144000"/>
          </a:xfrm>
        </p:spPr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9" name="Fußzeilenplatzhalter 2">
            <a:extLst>
              <a:ext uri="{FF2B5EF4-FFF2-40B4-BE49-F238E27FC236}">
                <a16:creationId xmlns:a16="http://schemas.microsoft.com/office/drawing/2014/main" id="{FE266F2A-28EC-48BD-BC96-7219E0BAB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9951" y="4680000"/>
            <a:ext cx="5184000" cy="144000"/>
          </a:xfrm>
        </p:spPr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E849CC5B-DAB4-4C3E-A247-3DA19D3A26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23367" y="4680000"/>
            <a:ext cx="216000" cy="144000"/>
          </a:xfrm>
        </p:spPr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  <p:sp>
        <p:nvSpPr>
          <p:cNvPr id="21" name="Textplatzhalter 24">
            <a:extLst>
              <a:ext uri="{FF2B5EF4-FFF2-40B4-BE49-F238E27FC236}">
                <a16:creationId xmlns:a16="http://schemas.microsoft.com/office/drawing/2014/main" id="{E66F64E5-8C6D-46DC-91CA-9F9919F7293C}"/>
              </a:ext>
            </a:extLst>
          </p:cNvPr>
          <p:cNvSpPr txBox="1">
            <a:spLocks/>
          </p:cNvSpPr>
          <p:nvPr/>
        </p:nvSpPr>
        <p:spPr>
          <a:xfrm>
            <a:off x="431255" y="3890416"/>
            <a:ext cx="6480000" cy="57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de-DE" sz="1600" b="1" dirty="0"/>
              <a:t>BDEW Bundesverband der Energie- und Wasserwirtschaft e.V.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600" dirty="0"/>
              <a:t>Reinhardtstraße 32 · 10117 Berli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65B0DE1-C91A-4A7F-BB4F-FCFEEFCE8496}"/>
              </a:ext>
            </a:extLst>
          </p:cNvPr>
          <p:cNvSpPr txBox="1"/>
          <p:nvPr/>
        </p:nvSpPr>
        <p:spPr>
          <a:xfrm>
            <a:off x="1022968" y="4680000"/>
            <a:ext cx="200375" cy="144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indent="0" algn="r">
              <a:spcAft>
                <a:spcPts val="1000"/>
              </a:spcAft>
              <a:buClr>
                <a:schemeClr val="accent1"/>
              </a:buClr>
              <a:buFont typeface="Calibri" panose="020F0502020204030204" pitchFamily="34" charset="0"/>
              <a:buNone/>
            </a:pPr>
            <a:r>
              <a:rPr lang="de-DE" sz="800" dirty="0">
                <a:solidFill>
                  <a:schemeClr val="accent3"/>
                </a:solidFill>
              </a:rPr>
              <a:t>Foli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AC1951E-B13C-448C-B9FF-CE5D407BB1A7}"/>
              </a:ext>
            </a:extLst>
          </p:cNvPr>
          <p:cNvSpPr txBox="1"/>
          <p:nvPr/>
        </p:nvSpPr>
        <p:spPr>
          <a:xfrm>
            <a:off x="431040" y="868025"/>
            <a:ext cx="6176099" cy="646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defTabSz="691157">
              <a:lnSpc>
                <a:spcPct val="90000"/>
              </a:lnSpc>
              <a:spcBef>
                <a:spcPct val="0"/>
              </a:spcBef>
              <a:buNone/>
              <a:defRPr sz="26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Vielen Dank für Ihre Aufmerksamkeit!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56B10FB1-6D8F-42BA-B53C-709B1D99F3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87439" y="2880419"/>
            <a:ext cx="4519700" cy="216000"/>
          </a:xfrm>
        </p:spPr>
        <p:txBody>
          <a:bodyPr lIns="0" tIns="0" rIns="0" bIns="0"/>
          <a:lstStyle>
            <a:lvl1pPr marL="0" indent="0">
              <a:buNone/>
              <a:defRPr lang="de-DE" sz="1600" b="0" dirty="0" smtClean="0"/>
            </a:lvl1pPr>
          </a:lstStyle>
          <a:p>
            <a:pPr marL="360000" lvl="0" indent="-360000"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Pct val="100000"/>
            </a:pPr>
            <a:r>
              <a:rPr lang="de-DE"/>
              <a:t>Mastertextformat bearbeite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BC36029-6541-415E-9317-378C674F76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3097213"/>
            <a:ext cx="6191535" cy="216000"/>
          </a:xfrm>
        </p:spPr>
        <p:txBody>
          <a:bodyPr/>
          <a:lstStyle>
            <a:lvl1pPr marL="0" indent="0">
              <a:buNone/>
              <a:tabLst>
                <a:tab pos="358775" algn="l"/>
                <a:tab pos="1611313" algn="l"/>
                <a:tab pos="2333625" algn="l"/>
              </a:tabLst>
              <a:defRPr sz="1600"/>
            </a:lvl1pPr>
          </a:lstStyle>
          <a:p>
            <a:pPr lvl="0"/>
            <a:r>
              <a:rPr lang="de-DE" dirty="0"/>
              <a:t>Optional Mobilnummer: M 	+49 170 1234567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F90F4C6-61C6-4E68-8F42-B7E23F08BB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1800225"/>
            <a:ext cx="6192838" cy="100647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0"/>
            </a:lvl1pPr>
          </a:lstStyle>
          <a:p>
            <a:pPr lvl="0"/>
            <a:r>
              <a:rPr lang="de-DE" dirty="0"/>
              <a:t>Persönliche Angaben: Vorname Name</a:t>
            </a:r>
            <a:br>
              <a:rPr lang="de-DE" dirty="0"/>
            </a:br>
            <a:r>
              <a:rPr lang="de-DE" dirty="0"/>
              <a:t>Funktion</a:t>
            </a:r>
            <a:br>
              <a:rPr lang="de-DE" dirty="0"/>
            </a:br>
            <a:r>
              <a:rPr lang="de-DE" dirty="0"/>
              <a:t>Organisationseinheit</a:t>
            </a:r>
            <a:br>
              <a:rPr lang="de-DE" dirty="0"/>
            </a:br>
            <a:r>
              <a:rPr lang="de-DE" dirty="0" err="1"/>
              <a:t>Organisationseinheit</a:t>
            </a:r>
            <a:r>
              <a:rPr lang="de-DE" dirty="0"/>
              <a:t> zweite Zeile</a:t>
            </a:r>
          </a:p>
          <a:p>
            <a:pPr lvl="0"/>
            <a:endParaRPr lang="de-DE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23750F27-A832-4E35-9F03-7599561BF3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3312467"/>
            <a:ext cx="6192838" cy="216000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magdalena.muster@bdew.de</a:t>
            </a:r>
          </a:p>
        </p:txBody>
      </p:sp>
      <p:sp>
        <p:nvSpPr>
          <p:cNvPr id="23" name="Textplatzhalter 24">
            <a:extLst>
              <a:ext uri="{FF2B5EF4-FFF2-40B4-BE49-F238E27FC236}">
                <a16:creationId xmlns:a16="http://schemas.microsoft.com/office/drawing/2014/main" id="{F4F5EB81-38D7-4A42-B793-141ABE3A8FC6}"/>
              </a:ext>
            </a:extLst>
          </p:cNvPr>
          <p:cNvSpPr txBox="1">
            <a:spLocks/>
          </p:cNvSpPr>
          <p:nvPr/>
        </p:nvSpPr>
        <p:spPr>
          <a:xfrm>
            <a:off x="431255" y="2664395"/>
            <a:ext cx="6192000" cy="1150362"/>
          </a:xfrm>
          <a:prstGeom prst="rect">
            <a:avLst/>
          </a:prstGeom>
        </p:spPr>
        <p:txBody>
          <a:bodyPr lIns="0" tIns="0" rIns="0" bIns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endParaRPr lang="de-DE" sz="1600" dirty="0"/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r>
              <a:rPr lang="de-DE" sz="1600" dirty="0"/>
              <a:t>T 	+49 30 300199-</a:t>
            </a:r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br>
              <a:rPr lang="de-DE" sz="1600" dirty="0"/>
            </a:br>
            <a:endParaRPr lang="de-DE" sz="1600" dirty="0"/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r>
              <a:rPr lang="de-DE" sz="1600" dirty="0"/>
              <a:t>www.bdew.de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9DC6B4B-61A5-4CCC-AC87-CBF8F097BCBB}"/>
              </a:ext>
            </a:extLst>
          </p:cNvPr>
          <p:cNvSpPr txBox="1">
            <a:spLocks/>
          </p:cNvSpPr>
          <p:nvPr/>
        </p:nvSpPr>
        <p:spPr>
          <a:xfrm>
            <a:off x="431255" y="3888587"/>
            <a:ext cx="6480000" cy="50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de-DE" sz="1600" b="1" dirty="0">
                <a:solidFill>
                  <a:schemeClr val="bg1"/>
                </a:solidFill>
              </a:rPr>
              <a:t>BDEW Bundesverband der Energie- und Wasserwirtschaft e.V.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600" dirty="0">
                <a:solidFill>
                  <a:schemeClr val="bg1"/>
                </a:solidFill>
              </a:rPr>
              <a:t>Reinhardtstraße 32 · 10117 Berlin</a:t>
            </a:r>
          </a:p>
        </p:txBody>
      </p:sp>
      <p:sp>
        <p:nvSpPr>
          <p:cNvPr id="39" name="Textplatzhalter 24">
            <a:extLst>
              <a:ext uri="{FF2B5EF4-FFF2-40B4-BE49-F238E27FC236}">
                <a16:creationId xmlns:a16="http://schemas.microsoft.com/office/drawing/2014/main" id="{9C2059AF-63B4-41CF-A58C-197AFF843DCB}"/>
              </a:ext>
            </a:extLst>
          </p:cNvPr>
          <p:cNvSpPr txBox="1">
            <a:spLocks/>
          </p:cNvSpPr>
          <p:nvPr/>
        </p:nvSpPr>
        <p:spPr>
          <a:xfrm>
            <a:off x="431255" y="3890416"/>
            <a:ext cx="6480000" cy="57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de-DE" sz="1600" b="1" dirty="0"/>
              <a:t>BDEW Bundesverband der Energie- und Wasserwirtschaft e.V.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600" dirty="0"/>
              <a:t>Reinhardtstraße 32 · 10117 Berlin</a:t>
            </a:r>
          </a:p>
        </p:txBody>
      </p:sp>
    </p:spTree>
    <p:extLst>
      <p:ext uri="{BB962C8B-B14F-4D97-AF65-F5344CB8AC3E}">
        <p14:creationId xmlns:p14="http://schemas.microsoft.com/office/powerpoint/2010/main" val="12198738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seite (2 A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B6C2A7ED-3E27-439F-AEFC-E742B9DAC482}"/>
              </a:ext>
            </a:extLst>
          </p:cNvPr>
          <p:cNvSpPr txBox="1">
            <a:spLocks/>
          </p:cNvSpPr>
          <p:nvPr/>
        </p:nvSpPr>
        <p:spPr>
          <a:xfrm>
            <a:off x="431255" y="2664395"/>
            <a:ext cx="6192000" cy="1150362"/>
          </a:xfrm>
          <a:prstGeom prst="rect">
            <a:avLst/>
          </a:prstGeom>
        </p:spPr>
        <p:txBody>
          <a:bodyPr lIns="0" tIns="0" rIns="0" bIns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endParaRPr lang="de-DE" sz="1600" dirty="0"/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r>
              <a:rPr lang="de-DE" sz="1600" dirty="0"/>
              <a:t>T 	+49 30 300199-</a:t>
            </a:r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br>
              <a:rPr lang="de-DE" sz="1600" dirty="0"/>
            </a:br>
            <a:endParaRPr lang="de-DE" sz="1600" dirty="0"/>
          </a:p>
        </p:txBody>
      </p:sp>
      <p:sp>
        <p:nvSpPr>
          <p:cNvPr id="8" name="Textplatzhalter 24">
            <a:extLst>
              <a:ext uri="{FF2B5EF4-FFF2-40B4-BE49-F238E27FC236}">
                <a16:creationId xmlns:a16="http://schemas.microsoft.com/office/drawing/2014/main" id="{163336B0-2170-409A-84C2-E385D2F84FAD}"/>
              </a:ext>
            </a:extLst>
          </p:cNvPr>
          <p:cNvSpPr txBox="1">
            <a:spLocks/>
          </p:cNvSpPr>
          <p:nvPr/>
        </p:nvSpPr>
        <p:spPr>
          <a:xfrm>
            <a:off x="431255" y="3888587"/>
            <a:ext cx="6480000" cy="50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de-DE" sz="1600" b="1" dirty="0">
                <a:solidFill>
                  <a:schemeClr val="bg1"/>
                </a:solidFill>
              </a:rPr>
              <a:t>BDEW Bundesverband der Energie- und Wasserwirtschaft e.V.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600" dirty="0">
                <a:solidFill>
                  <a:schemeClr val="bg1"/>
                </a:solidFill>
              </a:rPr>
              <a:t>Reinhardtstraße 32 · 10117 Berlin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D9A01EA3-8451-411A-A54D-13395C21C1FB}"/>
              </a:ext>
            </a:extLst>
          </p:cNvPr>
          <p:cNvSpPr>
            <a:spLocks noChangeArrowheads="1"/>
          </p:cNvSpPr>
          <p:nvPr/>
        </p:nvSpPr>
        <p:spPr bwMode="hidden">
          <a:xfrm>
            <a:off x="144000" y="144000"/>
            <a:ext cx="8928000" cy="4896000"/>
          </a:xfrm>
          <a:prstGeom prst="rect">
            <a:avLst/>
          </a:prstGeom>
          <a:noFill/>
          <a:ln w="12700">
            <a:solidFill>
              <a:srgbClr val="C00000"/>
            </a:solidFill>
          </a:ln>
          <a:effectLst/>
        </p:spPr>
        <p:txBody>
          <a:bodyPr wrap="none" anchor="ctr"/>
          <a:lstStyle/>
          <a:p>
            <a:endParaRPr lang="de-DE" sz="1828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5904070-0BA0-4AE0-842E-83FD5922B85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71990" y="576162"/>
            <a:ext cx="1800225" cy="1224000"/>
            <a:chOff x="7271990" y="576162"/>
            <a:chExt cx="1800225" cy="1224000"/>
          </a:xfrm>
        </p:grpSpPr>
        <p:sp>
          <p:nvSpPr>
            <p:cNvPr id="11" name="Rectangle 6">
              <a:extLst>
                <a:ext uri="{FF2B5EF4-FFF2-40B4-BE49-F238E27FC236}">
                  <a16:creationId xmlns:a16="http://schemas.microsoft.com/office/drawing/2014/main" id="{8E3F5386-A68E-4783-91A4-7ABCEF0F6CA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71990" y="576162"/>
              <a:ext cx="1800225" cy="1224000"/>
            </a:xfrm>
            <a:prstGeom prst="rect">
              <a:avLst/>
            </a:prstGeom>
            <a:solidFill>
              <a:srgbClr val="C2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43DDAB11-4336-45B9-8C7A-BFB021B00D43}"/>
                </a:ext>
              </a:extLst>
            </p:cNvPr>
            <p:cNvGrpSpPr/>
            <p:nvPr/>
          </p:nvGrpSpPr>
          <p:grpSpPr bwMode="gray">
            <a:xfrm>
              <a:off x="7538786" y="868025"/>
              <a:ext cx="1244600" cy="646113"/>
              <a:chOff x="7538786" y="868025"/>
              <a:chExt cx="1244600" cy="646113"/>
            </a:xfrm>
          </p:grpSpPr>
          <p:sp>
            <p:nvSpPr>
              <p:cNvPr id="13" name="Freeform 38">
                <a:extLst>
                  <a:ext uri="{FF2B5EF4-FFF2-40B4-BE49-F238E27FC236}">
                    <a16:creationId xmlns:a16="http://schemas.microsoft.com/office/drawing/2014/main" id="{AAF8BDAB-1509-41A4-95CE-55A836221A3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1398250"/>
                <a:ext cx="1244600" cy="115888"/>
              </a:xfrm>
              <a:custGeom>
                <a:avLst/>
                <a:gdLst>
                  <a:gd name="T0" fmla="*/ 1559 w 1559"/>
                  <a:gd name="T1" fmla="*/ 104 h 146"/>
                  <a:gd name="T2" fmla="*/ 1471 w 1559"/>
                  <a:gd name="T3" fmla="*/ 48 h 146"/>
                  <a:gd name="T4" fmla="*/ 1472 w 1559"/>
                  <a:gd name="T5" fmla="*/ 114 h 146"/>
                  <a:gd name="T6" fmla="*/ 1518 w 1559"/>
                  <a:gd name="T7" fmla="*/ 114 h 146"/>
                  <a:gd name="T8" fmla="*/ 1433 w 1559"/>
                  <a:gd name="T9" fmla="*/ 74 h 146"/>
                  <a:gd name="T10" fmla="*/ 1431 w 1559"/>
                  <a:gd name="T11" fmla="*/ 92 h 146"/>
                  <a:gd name="T12" fmla="*/ 1332 w 1559"/>
                  <a:gd name="T13" fmla="*/ 75 h 146"/>
                  <a:gd name="T14" fmla="*/ 1332 w 1559"/>
                  <a:gd name="T15" fmla="*/ 75 h 146"/>
                  <a:gd name="T16" fmla="*/ 1304 w 1559"/>
                  <a:gd name="T17" fmla="*/ 2 h 146"/>
                  <a:gd name="T18" fmla="*/ 1303 w 1559"/>
                  <a:gd name="T19" fmla="*/ 108 h 146"/>
                  <a:gd name="T20" fmla="*/ 1232 w 1559"/>
                  <a:gd name="T21" fmla="*/ 51 h 146"/>
                  <a:gd name="T22" fmla="*/ 1231 w 1559"/>
                  <a:gd name="T23" fmla="*/ 115 h 146"/>
                  <a:gd name="T24" fmla="*/ 1265 w 1559"/>
                  <a:gd name="T25" fmla="*/ 80 h 146"/>
                  <a:gd name="T26" fmla="*/ 1145 w 1559"/>
                  <a:gd name="T27" fmla="*/ 11 h 146"/>
                  <a:gd name="T28" fmla="*/ 1061 w 1559"/>
                  <a:gd name="T29" fmla="*/ 92 h 146"/>
                  <a:gd name="T30" fmla="*/ 1044 w 1559"/>
                  <a:gd name="T31" fmla="*/ 37 h 146"/>
                  <a:gd name="T32" fmla="*/ 1008 w 1559"/>
                  <a:gd name="T33" fmla="*/ 56 h 146"/>
                  <a:gd name="T34" fmla="*/ 1051 w 1559"/>
                  <a:gd name="T35" fmla="*/ 54 h 146"/>
                  <a:gd name="T36" fmla="*/ 970 w 1559"/>
                  <a:gd name="T37" fmla="*/ 68 h 146"/>
                  <a:gd name="T38" fmla="*/ 989 w 1559"/>
                  <a:gd name="T39" fmla="*/ 108 h 146"/>
                  <a:gd name="T40" fmla="*/ 990 w 1559"/>
                  <a:gd name="T41" fmla="*/ 74 h 146"/>
                  <a:gd name="T42" fmla="*/ 906 w 1559"/>
                  <a:gd name="T43" fmla="*/ 57 h 146"/>
                  <a:gd name="T44" fmla="*/ 892 w 1559"/>
                  <a:gd name="T45" fmla="*/ 92 h 146"/>
                  <a:gd name="T46" fmla="*/ 911 w 1559"/>
                  <a:gd name="T47" fmla="*/ 91 h 146"/>
                  <a:gd name="T48" fmla="*/ 837 w 1559"/>
                  <a:gd name="T49" fmla="*/ 57 h 146"/>
                  <a:gd name="T50" fmla="*/ 823 w 1559"/>
                  <a:gd name="T51" fmla="*/ 92 h 146"/>
                  <a:gd name="T52" fmla="*/ 843 w 1559"/>
                  <a:gd name="T53" fmla="*/ 91 h 146"/>
                  <a:gd name="T54" fmla="*/ 749 w 1559"/>
                  <a:gd name="T55" fmla="*/ 80 h 146"/>
                  <a:gd name="T56" fmla="*/ 765 w 1559"/>
                  <a:gd name="T57" fmla="*/ 43 h 146"/>
                  <a:gd name="T58" fmla="*/ 749 w 1559"/>
                  <a:gd name="T59" fmla="*/ 61 h 146"/>
                  <a:gd name="T60" fmla="*/ 751 w 1559"/>
                  <a:gd name="T61" fmla="*/ 107 h 146"/>
                  <a:gd name="T62" fmla="*/ 667 w 1559"/>
                  <a:gd name="T63" fmla="*/ 61 h 146"/>
                  <a:gd name="T64" fmla="*/ 613 w 1559"/>
                  <a:gd name="T65" fmla="*/ 61 h 146"/>
                  <a:gd name="T66" fmla="*/ 597 w 1559"/>
                  <a:gd name="T67" fmla="*/ 114 h 146"/>
                  <a:gd name="T68" fmla="*/ 650 w 1559"/>
                  <a:gd name="T69" fmla="*/ 114 h 146"/>
                  <a:gd name="T70" fmla="*/ 512 w 1559"/>
                  <a:gd name="T71" fmla="*/ 104 h 146"/>
                  <a:gd name="T72" fmla="*/ 464 w 1559"/>
                  <a:gd name="T73" fmla="*/ 51 h 146"/>
                  <a:gd name="T74" fmla="*/ 462 w 1559"/>
                  <a:gd name="T75" fmla="*/ 115 h 146"/>
                  <a:gd name="T76" fmla="*/ 496 w 1559"/>
                  <a:gd name="T77" fmla="*/ 80 h 146"/>
                  <a:gd name="T78" fmla="*/ 393 w 1559"/>
                  <a:gd name="T79" fmla="*/ 38 h 146"/>
                  <a:gd name="T80" fmla="*/ 391 w 1559"/>
                  <a:gd name="T81" fmla="*/ 12 h 146"/>
                  <a:gd name="T82" fmla="*/ 326 w 1559"/>
                  <a:gd name="T83" fmla="*/ 75 h 146"/>
                  <a:gd name="T84" fmla="*/ 355 w 1559"/>
                  <a:gd name="T85" fmla="*/ 38 h 146"/>
                  <a:gd name="T86" fmla="*/ 353 w 1559"/>
                  <a:gd name="T87" fmla="*/ 103 h 146"/>
                  <a:gd name="T88" fmla="*/ 310 w 1559"/>
                  <a:gd name="T89" fmla="*/ 122 h 146"/>
                  <a:gd name="T90" fmla="*/ 373 w 1559"/>
                  <a:gd name="T91" fmla="*/ 56 h 146"/>
                  <a:gd name="T92" fmla="*/ 269 w 1559"/>
                  <a:gd name="T93" fmla="*/ 47 h 146"/>
                  <a:gd name="T94" fmla="*/ 270 w 1559"/>
                  <a:gd name="T95" fmla="*/ 114 h 146"/>
                  <a:gd name="T96" fmla="*/ 211 w 1559"/>
                  <a:gd name="T97" fmla="*/ 68 h 146"/>
                  <a:gd name="T98" fmla="*/ 198 w 1559"/>
                  <a:gd name="T99" fmla="*/ 36 h 146"/>
                  <a:gd name="T100" fmla="*/ 200 w 1559"/>
                  <a:gd name="T101" fmla="*/ 100 h 146"/>
                  <a:gd name="T102" fmla="*/ 148 w 1559"/>
                  <a:gd name="T103" fmla="*/ 62 h 146"/>
                  <a:gd name="T104" fmla="*/ 81 w 1559"/>
                  <a:gd name="T105" fmla="*/ 38 h 146"/>
                  <a:gd name="T106" fmla="*/ 119 w 1559"/>
                  <a:gd name="T107" fmla="*/ 54 h 146"/>
                  <a:gd name="T108" fmla="*/ 66 w 1559"/>
                  <a:gd name="T109" fmla="*/ 96 h 146"/>
                  <a:gd name="T110" fmla="*/ 21 w 1559"/>
                  <a:gd name="T111" fmla="*/ 52 h 146"/>
                  <a:gd name="T112" fmla="*/ 0 w 1559"/>
                  <a:gd name="T113" fmla="*/ 11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59" h="146">
                    <a:moveTo>
                      <a:pt x="1559" y="104"/>
                    </a:moveTo>
                    <a:cubicBezTo>
                      <a:pt x="1559" y="98"/>
                      <a:pt x="1556" y="92"/>
                      <a:pt x="1547" y="92"/>
                    </a:cubicBezTo>
                    <a:cubicBezTo>
                      <a:pt x="1539" y="92"/>
                      <a:pt x="1535" y="98"/>
                      <a:pt x="1535" y="104"/>
                    </a:cubicBezTo>
                    <a:cubicBezTo>
                      <a:pt x="1535" y="110"/>
                      <a:pt x="1539" y="116"/>
                      <a:pt x="1547" y="116"/>
                    </a:cubicBezTo>
                    <a:cubicBezTo>
                      <a:pt x="1556" y="116"/>
                      <a:pt x="1559" y="110"/>
                      <a:pt x="1559" y="104"/>
                    </a:cubicBezTo>
                    <a:close/>
                    <a:moveTo>
                      <a:pt x="1518" y="114"/>
                    </a:moveTo>
                    <a:lnTo>
                      <a:pt x="1518" y="62"/>
                    </a:lnTo>
                    <a:cubicBezTo>
                      <a:pt x="1518" y="55"/>
                      <a:pt x="1517" y="49"/>
                      <a:pt x="1514" y="45"/>
                    </a:cubicBezTo>
                    <a:cubicBezTo>
                      <a:pt x="1510" y="39"/>
                      <a:pt x="1504" y="36"/>
                      <a:pt x="1495" y="36"/>
                    </a:cubicBezTo>
                    <a:cubicBezTo>
                      <a:pt x="1485" y="36"/>
                      <a:pt x="1474" y="45"/>
                      <a:pt x="1471" y="48"/>
                    </a:cubicBezTo>
                    <a:cubicBezTo>
                      <a:pt x="1471" y="43"/>
                      <a:pt x="1470" y="38"/>
                      <a:pt x="1470" y="38"/>
                    </a:cubicBezTo>
                    <a:lnTo>
                      <a:pt x="1450" y="38"/>
                    </a:lnTo>
                    <a:cubicBezTo>
                      <a:pt x="1450" y="38"/>
                      <a:pt x="1451" y="47"/>
                      <a:pt x="1451" y="56"/>
                    </a:cubicBezTo>
                    <a:lnTo>
                      <a:pt x="1451" y="114"/>
                    </a:lnTo>
                    <a:lnTo>
                      <a:pt x="1472" y="114"/>
                    </a:lnTo>
                    <a:lnTo>
                      <a:pt x="1472" y="62"/>
                    </a:lnTo>
                    <a:cubicBezTo>
                      <a:pt x="1475" y="59"/>
                      <a:pt x="1482" y="54"/>
                      <a:pt x="1488" y="54"/>
                    </a:cubicBezTo>
                    <a:cubicBezTo>
                      <a:pt x="1493" y="54"/>
                      <a:pt x="1497" y="55"/>
                      <a:pt x="1497" y="64"/>
                    </a:cubicBezTo>
                    <a:lnTo>
                      <a:pt x="1497" y="114"/>
                    </a:lnTo>
                    <a:lnTo>
                      <a:pt x="1518" y="114"/>
                    </a:lnTo>
                    <a:close/>
                    <a:moveTo>
                      <a:pt x="1413" y="68"/>
                    </a:moveTo>
                    <a:lnTo>
                      <a:pt x="1389" y="68"/>
                    </a:lnTo>
                    <a:cubicBezTo>
                      <a:pt x="1389" y="62"/>
                      <a:pt x="1391" y="51"/>
                      <a:pt x="1400" y="51"/>
                    </a:cubicBezTo>
                    <a:cubicBezTo>
                      <a:pt x="1411" y="51"/>
                      <a:pt x="1413" y="62"/>
                      <a:pt x="1413" y="68"/>
                    </a:cubicBezTo>
                    <a:close/>
                    <a:moveTo>
                      <a:pt x="1433" y="74"/>
                    </a:moveTo>
                    <a:cubicBezTo>
                      <a:pt x="1433" y="56"/>
                      <a:pt x="1426" y="36"/>
                      <a:pt x="1400" y="36"/>
                    </a:cubicBezTo>
                    <a:cubicBezTo>
                      <a:pt x="1378" y="36"/>
                      <a:pt x="1367" y="56"/>
                      <a:pt x="1367" y="76"/>
                    </a:cubicBezTo>
                    <a:cubicBezTo>
                      <a:pt x="1367" y="90"/>
                      <a:pt x="1372" y="115"/>
                      <a:pt x="1399" y="115"/>
                    </a:cubicBezTo>
                    <a:cubicBezTo>
                      <a:pt x="1420" y="115"/>
                      <a:pt x="1432" y="108"/>
                      <a:pt x="1432" y="108"/>
                    </a:cubicBezTo>
                    <a:lnTo>
                      <a:pt x="1431" y="92"/>
                    </a:lnTo>
                    <a:cubicBezTo>
                      <a:pt x="1431" y="92"/>
                      <a:pt x="1416" y="100"/>
                      <a:pt x="1402" y="100"/>
                    </a:cubicBezTo>
                    <a:cubicBezTo>
                      <a:pt x="1393" y="100"/>
                      <a:pt x="1389" y="94"/>
                      <a:pt x="1389" y="80"/>
                    </a:cubicBezTo>
                    <a:lnTo>
                      <a:pt x="1433" y="80"/>
                    </a:lnTo>
                    <a:cubicBezTo>
                      <a:pt x="1433" y="80"/>
                      <a:pt x="1433" y="76"/>
                      <a:pt x="1433" y="74"/>
                    </a:cubicBezTo>
                    <a:moveTo>
                      <a:pt x="1332" y="75"/>
                    </a:moveTo>
                    <a:cubicBezTo>
                      <a:pt x="1332" y="93"/>
                      <a:pt x="1326" y="99"/>
                      <a:pt x="1319" y="99"/>
                    </a:cubicBezTo>
                    <a:cubicBezTo>
                      <a:pt x="1316" y="99"/>
                      <a:pt x="1310" y="97"/>
                      <a:pt x="1304" y="94"/>
                    </a:cubicBezTo>
                    <a:lnTo>
                      <a:pt x="1304" y="59"/>
                    </a:lnTo>
                    <a:cubicBezTo>
                      <a:pt x="1310" y="54"/>
                      <a:pt x="1316" y="53"/>
                      <a:pt x="1320" y="53"/>
                    </a:cubicBezTo>
                    <a:cubicBezTo>
                      <a:pt x="1330" y="53"/>
                      <a:pt x="1332" y="67"/>
                      <a:pt x="1332" y="75"/>
                    </a:cubicBezTo>
                    <a:close/>
                    <a:moveTo>
                      <a:pt x="1353" y="76"/>
                    </a:moveTo>
                    <a:cubicBezTo>
                      <a:pt x="1353" y="60"/>
                      <a:pt x="1349" y="36"/>
                      <a:pt x="1324" y="36"/>
                    </a:cubicBezTo>
                    <a:cubicBezTo>
                      <a:pt x="1315" y="36"/>
                      <a:pt x="1306" y="43"/>
                      <a:pt x="1304" y="44"/>
                    </a:cubicBezTo>
                    <a:cubicBezTo>
                      <a:pt x="1304" y="44"/>
                      <a:pt x="1304" y="39"/>
                      <a:pt x="1304" y="36"/>
                    </a:cubicBezTo>
                    <a:lnTo>
                      <a:pt x="1304" y="2"/>
                    </a:lnTo>
                    <a:lnTo>
                      <a:pt x="1284" y="4"/>
                    </a:lnTo>
                    <a:lnTo>
                      <a:pt x="1284" y="98"/>
                    </a:lnTo>
                    <a:cubicBezTo>
                      <a:pt x="1284" y="105"/>
                      <a:pt x="1283" y="114"/>
                      <a:pt x="1283" y="114"/>
                    </a:cubicBezTo>
                    <a:lnTo>
                      <a:pt x="1302" y="114"/>
                    </a:lnTo>
                    <a:cubicBezTo>
                      <a:pt x="1303" y="112"/>
                      <a:pt x="1303" y="109"/>
                      <a:pt x="1303" y="108"/>
                    </a:cubicBezTo>
                    <a:cubicBezTo>
                      <a:pt x="1304" y="109"/>
                      <a:pt x="1313" y="115"/>
                      <a:pt x="1324" y="115"/>
                    </a:cubicBezTo>
                    <a:cubicBezTo>
                      <a:pt x="1342" y="115"/>
                      <a:pt x="1353" y="98"/>
                      <a:pt x="1353" y="76"/>
                    </a:cubicBezTo>
                    <a:moveTo>
                      <a:pt x="1245" y="68"/>
                    </a:moveTo>
                    <a:lnTo>
                      <a:pt x="1221" y="68"/>
                    </a:lnTo>
                    <a:cubicBezTo>
                      <a:pt x="1221" y="62"/>
                      <a:pt x="1223" y="51"/>
                      <a:pt x="1232" y="51"/>
                    </a:cubicBezTo>
                    <a:cubicBezTo>
                      <a:pt x="1243" y="51"/>
                      <a:pt x="1245" y="62"/>
                      <a:pt x="1245" y="68"/>
                    </a:cubicBezTo>
                    <a:close/>
                    <a:moveTo>
                      <a:pt x="1265" y="74"/>
                    </a:moveTo>
                    <a:cubicBezTo>
                      <a:pt x="1265" y="56"/>
                      <a:pt x="1258" y="36"/>
                      <a:pt x="1232" y="36"/>
                    </a:cubicBezTo>
                    <a:cubicBezTo>
                      <a:pt x="1210" y="36"/>
                      <a:pt x="1199" y="56"/>
                      <a:pt x="1199" y="76"/>
                    </a:cubicBezTo>
                    <a:cubicBezTo>
                      <a:pt x="1199" y="90"/>
                      <a:pt x="1204" y="115"/>
                      <a:pt x="1231" y="115"/>
                    </a:cubicBezTo>
                    <a:cubicBezTo>
                      <a:pt x="1251" y="115"/>
                      <a:pt x="1264" y="108"/>
                      <a:pt x="1264" y="108"/>
                    </a:cubicBezTo>
                    <a:lnTo>
                      <a:pt x="1263" y="92"/>
                    </a:lnTo>
                    <a:cubicBezTo>
                      <a:pt x="1263" y="92"/>
                      <a:pt x="1248" y="100"/>
                      <a:pt x="1234" y="100"/>
                    </a:cubicBezTo>
                    <a:cubicBezTo>
                      <a:pt x="1225" y="100"/>
                      <a:pt x="1221" y="94"/>
                      <a:pt x="1221" y="80"/>
                    </a:cubicBezTo>
                    <a:lnTo>
                      <a:pt x="1265" y="80"/>
                    </a:lnTo>
                    <a:cubicBezTo>
                      <a:pt x="1265" y="80"/>
                      <a:pt x="1265" y="76"/>
                      <a:pt x="1265" y="74"/>
                    </a:cubicBezTo>
                    <a:moveTo>
                      <a:pt x="1188" y="114"/>
                    </a:moveTo>
                    <a:lnTo>
                      <a:pt x="1188" y="95"/>
                    </a:lnTo>
                    <a:lnTo>
                      <a:pt x="1145" y="95"/>
                    </a:lnTo>
                    <a:lnTo>
                      <a:pt x="1145" y="11"/>
                    </a:lnTo>
                    <a:lnTo>
                      <a:pt x="1124" y="11"/>
                    </a:lnTo>
                    <a:lnTo>
                      <a:pt x="1124" y="114"/>
                    </a:lnTo>
                    <a:lnTo>
                      <a:pt x="1188" y="114"/>
                    </a:lnTo>
                    <a:close/>
                    <a:moveTo>
                      <a:pt x="1073" y="104"/>
                    </a:moveTo>
                    <a:cubicBezTo>
                      <a:pt x="1073" y="98"/>
                      <a:pt x="1069" y="92"/>
                      <a:pt x="1061" y="92"/>
                    </a:cubicBezTo>
                    <a:cubicBezTo>
                      <a:pt x="1053" y="92"/>
                      <a:pt x="1048" y="98"/>
                      <a:pt x="1048" y="104"/>
                    </a:cubicBezTo>
                    <a:cubicBezTo>
                      <a:pt x="1048" y="110"/>
                      <a:pt x="1053" y="116"/>
                      <a:pt x="1061" y="116"/>
                    </a:cubicBezTo>
                    <a:cubicBezTo>
                      <a:pt x="1069" y="116"/>
                      <a:pt x="1073" y="110"/>
                      <a:pt x="1073" y="104"/>
                    </a:cubicBezTo>
                    <a:close/>
                    <a:moveTo>
                      <a:pt x="1053" y="38"/>
                    </a:moveTo>
                    <a:cubicBezTo>
                      <a:pt x="1053" y="38"/>
                      <a:pt x="1052" y="37"/>
                      <a:pt x="1044" y="37"/>
                    </a:cubicBezTo>
                    <a:cubicBezTo>
                      <a:pt x="1038" y="37"/>
                      <a:pt x="1032" y="42"/>
                      <a:pt x="1029" y="45"/>
                    </a:cubicBezTo>
                    <a:cubicBezTo>
                      <a:pt x="1029" y="46"/>
                      <a:pt x="1028" y="47"/>
                      <a:pt x="1028" y="47"/>
                    </a:cubicBezTo>
                    <a:cubicBezTo>
                      <a:pt x="1028" y="43"/>
                      <a:pt x="1027" y="38"/>
                      <a:pt x="1027" y="38"/>
                    </a:cubicBezTo>
                    <a:lnTo>
                      <a:pt x="1007" y="38"/>
                    </a:lnTo>
                    <a:cubicBezTo>
                      <a:pt x="1007" y="38"/>
                      <a:pt x="1008" y="47"/>
                      <a:pt x="1008" y="56"/>
                    </a:cubicBezTo>
                    <a:lnTo>
                      <a:pt x="1008" y="114"/>
                    </a:lnTo>
                    <a:lnTo>
                      <a:pt x="1029" y="114"/>
                    </a:lnTo>
                    <a:lnTo>
                      <a:pt x="1029" y="60"/>
                    </a:lnTo>
                    <a:cubicBezTo>
                      <a:pt x="1034" y="56"/>
                      <a:pt x="1039" y="53"/>
                      <a:pt x="1041" y="53"/>
                    </a:cubicBezTo>
                    <a:cubicBezTo>
                      <a:pt x="1047" y="53"/>
                      <a:pt x="1051" y="54"/>
                      <a:pt x="1051" y="54"/>
                    </a:cubicBezTo>
                    <a:lnTo>
                      <a:pt x="1053" y="38"/>
                    </a:lnTo>
                    <a:close/>
                    <a:moveTo>
                      <a:pt x="970" y="68"/>
                    </a:moveTo>
                    <a:lnTo>
                      <a:pt x="946" y="68"/>
                    </a:lnTo>
                    <a:cubicBezTo>
                      <a:pt x="946" y="62"/>
                      <a:pt x="948" y="51"/>
                      <a:pt x="958" y="51"/>
                    </a:cubicBezTo>
                    <a:cubicBezTo>
                      <a:pt x="968" y="51"/>
                      <a:pt x="970" y="62"/>
                      <a:pt x="970" y="68"/>
                    </a:cubicBezTo>
                    <a:close/>
                    <a:moveTo>
                      <a:pt x="990" y="74"/>
                    </a:moveTo>
                    <a:cubicBezTo>
                      <a:pt x="990" y="56"/>
                      <a:pt x="983" y="36"/>
                      <a:pt x="958" y="36"/>
                    </a:cubicBezTo>
                    <a:cubicBezTo>
                      <a:pt x="935" y="36"/>
                      <a:pt x="925" y="56"/>
                      <a:pt x="925" y="76"/>
                    </a:cubicBezTo>
                    <a:cubicBezTo>
                      <a:pt x="925" y="90"/>
                      <a:pt x="929" y="115"/>
                      <a:pt x="956" y="115"/>
                    </a:cubicBezTo>
                    <a:cubicBezTo>
                      <a:pt x="977" y="115"/>
                      <a:pt x="989" y="108"/>
                      <a:pt x="989" y="108"/>
                    </a:cubicBezTo>
                    <a:lnTo>
                      <a:pt x="988" y="92"/>
                    </a:lnTo>
                    <a:cubicBezTo>
                      <a:pt x="988" y="92"/>
                      <a:pt x="974" y="100"/>
                      <a:pt x="960" y="100"/>
                    </a:cubicBezTo>
                    <a:cubicBezTo>
                      <a:pt x="951" y="100"/>
                      <a:pt x="946" y="94"/>
                      <a:pt x="946" y="80"/>
                    </a:cubicBezTo>
                    <a:lnTo>
                      <a:pt x="990" y="80"/>
                    </a:lnTo>
                    <a:cubicBezTo>
                      <a:pt x="990" y="80"/>
                      <a:pt x="990" y="76"/>
                      <a:pt x="990" y="74"/>
                    </a:cubicBezTo>
                    <a:moveTo>
                      <a:pt x="911" y="91"/>
                    </a:moveTo>
                    <a:cubicBezTo>
                      <a:pt x="911" y="73"/>
                      <a:pt x="894" y="70"/>
                      <a:pt x="882" y="64"/>
                    </a:cubicBezTo>
                    <a:cubicBezTo>
                      <a:pt x="879" y="63"/>
                      <a:pt x="876" y="61"/>
                      <a:pt x="876" y="58"/>
                    </a:cubicBezTo>
                    <a:cubicBezTo>
                      <a:pt x="876" y="56"/>
                      <a:pt x="878" y="52"/>
                      <a:pt x="884" y="52"/>
                    </a:cubicBezTo>
                    <a:cubicBezTo>
                      <a:pt x="894" y="52"/>
                      <a:pt x="906" y="57"/>
                      <a:pt x="906" y="57"/>
                    </a:cubicBezTo>
                    <a:lnTo>
                      <a:pt x="907" y="40"/>
                    </a:lnTo>
                    <a:cubicBezTo>
                      <a:pt x="907" y="40"/>
                      <a:pt x="897" y="36"/>
                      <a:pt x="885" y="36"/>
                    </a:cubicBezTo>
                    <a:cubicBezTo>
                      <a:pt x="870" y="36"/>
                      <a:pt x="857" y="44"/>
                      <a:pt x="857" y="60"/>
                    </a:cubicBezTo>
                    <a:cubicBezTo>
                      <a:pt x="857" y="77"/>
                      <a:pt x="874" y="80"/>
                      <a:pt x="885" y="85"/>
                    </a:cubicBezTo>
                    <a:cubicBezTo>
                      <a:pt x="889" y="87"/>
                      <a:pt x="892" y="89"/>
                      <a:pt x="892" y="92"/>
                    </a:cubicBezTo>
                    <a:cubicBezTo>
                      <a:pt x="892" y="96"/>
                      <a:pt x="888" y="99"/>
                      <a:pt x="883" y="99"/>
                    </a:cubicBezTo>
                    <a:cubicBezTo>
                      <a:pt x="872" y="99"/>
                      <a:pt x="857" y="91"/>
                      <a:pt x="857" y="91"/>
                    </a:cubicBezTo>
                    <a:lnTo>
                      <a:pt x="856" y="110"/>
                    </a:lnTo>
                    <a:cubicBezTo>
                      <a:pt x="856" y="110"/>
                      <a:pt x="869" y="116"/>
                      <a:pt x="883" y="116"/>
                    </a:cubicBezTo>
                    <a:cubicBezTo>
                      <a:pt x="898" y="116"/>
                      <a:pt x="911" y="108"/>
                      <a:pt x="911" y="91"/>
                    </a:cubicBezTo>
                    <a:close/>
                    <a:moveTo>
                      <a:pt x="843" y="91"/>
                    </a:moveTo>
                    <a:cubicBezTo>
                      <a:pt x="843" y="73"/>
                      <a:pt x="826" y="70"/>
                      <a:pt x="813" y="64"/>
                    </a:cubicBezTo>
                    <a:cubicBezTo>
                      <a:pt x="810" y="63"/>
                      <a:pt x="807" y="61"/>
                      <a:pt x="807" y="58"/>
                    </a:cubicBezTo>
                    <a:cubicBezTo>
                      <a:pt x="807" y="56"/>
                      <a:pt x="809" y="52"/>
                      <a:pt x="815" y="52"/>
                    </a:cubicBezTo>
                    <a:cubicBezTo>
                      <a:pt x="825" y="52"/>
                      <a:pt x="837" y="57"/>
                      <a:pt x="837" y="57"/>
                    </a:cubicBezTo>
                    <a:lnTo>
                      <a:pt x="838" y="40"/>
                    </a:lnTo>
                    <a:cubicBezTo>
                      <a:pt x="838" y="40"/>
                      <a:pt x="828" y="36"/>
                      <a:pt x="816" y="36"/>
                    </a:cubicBezTo>
                    <a:cubicBezTo>
                      <a:pt x="801" y="36"/>
                      <a:pt x="788" y="44"/>
                      <a:pt x="788" y="60"/>
                    </a:cubicBezTo>
                    <a:cubicBezTo>
                      <a:pt x="788" y="77"/>
                      <a:pt x="805" y="80"/>
                      <a:pt x="817" y="85"/>
                    </a:cubicBezTo>
                    <a:cubicBezTo>
                      <a:pt x="820" y="87"/>
                      <a:pt x="823" y="89"/>
                      <a:pt x="823" y="92"/>
                    </a:cubicBezTo>
                    <a:cubicBezTo>
                      <a:pt x="823" y="96"/>
                      <a:pt x="819" y="99"/>
                      <a:pt x="815" y="99"/>
                    </a:cubicBezTo>
                    <a:cubicBezTo>
                      <a:pt x="803" y="99"/>
                      <a:pt x="788" y="91"/>
                      <a:pt x="788" y="91"/>
                    </a:cubicBezTo>
                    <a:lnTo>
                      <a:pt x="787" y="110"/>
                    </a:lnTo>
                    <a:cubicBezTo>
                      <a:pt x="787" y="110"/>
                      <a:pt x="800" y="116"/>
                      <a:pt x="814" y="116"/>
                    </a:cubicBezTo>
                    <a:cubicBezTo>
                      <a:pt x="829" y="116"/>
                      <a:pt x="843" y="108"/>
                      <a:pt x="843" y="91"/>
                    </a:cubicBezTo>
                    <a:close/>
                    <a:moveTo>
                      <a:pt x="749" y="94"/>
                    </a:moveTo>
                    <a:cubicBezTo>
                      <a:pt x="747" y="96"/>
                      <a:pt x="742" y="100"/>
                      <a:pt x="736" y="100"/>
                    </a:cubicBezTo>
                    <a:cubicBezTo>
                      <a:pt x="731" y="100"/>
                      <a:pt x="729" y="95"/>
                      <a:pt x="729" y="91"/>
                    </a:cubicBezTo>
                    <a:cubicBezTo>
                      <a:pt x="729" y="89"/>
                      <a:pt x="730" y="87"/>
                      <a:pt x="732" y="85"/>
                    </a:cubicBezTo>
                    <a:cubicBezTo>
                      <a:pt x="736" y="81"/>
                      <a:pt x="746" y="80"/>
                      <a:pt x="749" y="80"/>
                    </a:cubicBezTo>
                    <a:lnTo>
                      <a:pt x="749" y="94"/>
                    </a:lnTo>
                    <a:close/>
                    <a:moveTo>
                      <a:pt x="771" y="114"/>
                    </a:moveTo>
                    <a:cubicBezTo>
                      <a:pt x="771" y="114"/>
                      <a:pt x="770" y="107"/>
                      <a:pt x="770" y="98"/>
                    </a:cubicBezTo>
                    <a:lnTo>
                      <a:pt x="770" y="62"/>
                    </a:lnTo>
                    <a:cubicBezTo>
                      <a:pt x="770" y="54"/>
                      <a:pt x="769" y="48"/>
                      <a:pt x="765" y="43"/>
                    </a:cubicBezTo>
                    <a:cubicBezTo>
                      <a:pt x="761" y="39"/>
                      <a:pt x="755" y="36"/>
                      <a:pt x="745" y="36"/>
                    </a:cubicBezTo>
                    <a:cubicBezTo>
                      <a:pt x="729" y="36"/>
                      <a:pt x="714" y="43"/>
                      <a:pt x="714" y="43"/>
                    </a:cubicBezTo>
                    <a:lnTo>
                      <a:pt x="715" y="59"/>
                    </a:lnTo>
                    <a:cubicBezTo>
                      <a:pt x="720" y="56"/>
                      <a:pt x="731" y="52"/>
                      <a:pt x="741" y="52"/>
                    </a:cubicBezTo>
                    <a:cubicBezTo>
                      <a:pt x="747" y="52"/>
                      <a:pt x="749" y="55"/>
                      <a:pt x="749" y="61"/>
                    </a:cubicBezTo>
                    <a:lnTo>
                      <a:pt x="749" y="69"/>
                    </a:lnTo>
                    <a:cubicBezTo>
                      <a:pt x="740" y="69"/>
                      <a:pt x="725" y="70"/>
                      <a:pt x="716" y="77"/>
                    </a:cubicBezTo>
                    <a:cubicBezTo>
                      <a:pt x="711" y="81"/>
                      <a:pt x="709" y="85"/>
                      <a:pt x="709" y="92"/>
                    </a:cubicBezTo>
                    <a:cubicBezTo>
                      <a:pt x="709" y="102"/>
                      <a:pt x="714" y="115"/>
                      <a:pt x="730" y="115"/>
                    </a:cubicBezTo>
                    <a:cubicBezTo>
                      <a:pt x="741" y="115"/>
                      <a:pt x="751" y="107"/>
                      <a:pt x="751" y="107"/>
                    </a:cubicBezTo>
                    <a:cubicBezTo>
                      <a:pt x="751" y="110"/>
                      <a:pt x="751" y="114"/>
                      <a:pt x="751" y="114"/>
                    </a:cubicBezTo>
                    <a:lnTo>
                      <a:pt x="771" y="114"/>
                    </a:lnTo>
                    <a:close/>
                    <a:moveTo>
                      <a:pt x="701" y="12"/>
                    </a:moveTo>
                    <a:lnTo>
                      <a:pt x="679" y="11"/>
                    </a:lnTo>
                    <a:lnTo>
                      <a:pt x="667" y="61"/>
                    </a:lnTo>
                    <a:cubicBezTo>
                      <a:pt x="665" y="68"/>
                      <a:pt x="663" y="83"/>
                      <a:pt x="662" y="86"/>
                    </a:cubicBezTo>
                    <a:cubicBezTo>
                      <a:pt x="662" y="83"/>
                      <a:pt x="659" y="68"/>
                      <a:pt x="658" y="61"/>
                    </a:cubicBezTo>
                    <a:lnTo>
                      <a:pt x="646" y="11"/>
                    </a:lnTo>
                    <a:lnTo>
                      <a:pt x="624" y="11"/>
                    </a:lnTo>
                    <a:lnTo>
                      <a:pt x="613" y="61"/>
                    </a:lnTo>
                    <a:cubicBezTo>
                      <a:pt x="611" y="68"/>
                      <a:pt x="609" y="82"/>
                      <a:pt x="608" y="85"/>
                    </a:cubicBezTo>
                    <a:cubicBezTo>
                      <a:pt x="608" y="82"/>
                      <a:pt x="605" y="68"/>
                      <a:pt x="604" y="61"/>
                    </a:cubicBezTo>
                    <a:lnTo>
                      <a:pt x="592" y="10"/>
                    </a:lnTo>
                    <a:lnTo>
                      <a:pt x="570" y="11"/>
                    </a:lnTo>
                    <a:lnTo>
                      <a:pt x="597" y="114"/>
                    </a:lnTo>
                    <a:lnTo>
                      <a:pt x="619" y="114"/>
                    </a:lnTo>
                    <a:lnTo>
                      <a:pt x="630" y="67"/>
                    </a:lnTo>
                    <a:cubicBezTo>
                      <a:pt x="631" y="59"/>
                      <a:pt x="635" y="40"/>
                      <a:pt x="635" y="40"/>
                    </a:cubicBezTo>
                    <a:cubicBezTo>
                      <a:pt x="635" y="40"/>
                      <a:pt x="638" y="59"/>
                      <a:pt x="640" y="67"/>
                    </a:cubicBezTo>
                    <a:lnTo>
                      <a:pt x="650" y="114"/>
                    </a:lnTo>
                    <a:lnTo>
                      <a:pt x="673" y="114"/>
                    </a:lnTo>
                    <a:lnTo>
                      <a:pt x="701" y="12"/>
                    </a:lnTo>
                    <a:close/>
                    <a:moveTo>
                      <a:pt x="537" y="104"/>
                    </a:moveTo>
                    <a:cubicBezTo>
                      <a:pt x="537" y="98"/>
                      <a:pt x="533" y="92"/>
                      <a:pt x="525" y="92"/>
                    </a:cubicBezTo>
                    <a:cubicBezTo>
                      <a:pt x="516" y="92"/>
                      <a:pt x="512" y="98"/>
                      <a:pt x="512" y="104"/>
                    </a:cubicBezTo>
                    <a:cubicBezTo>
                      <a:pt x="512" y="110"/>
                      <a:pt x="516" y="116"/>
                      <a:pt x="525" y="116"/>
                    </a:cubicBezTo>
                    <a:cubicBezTo>
                      <a:pt x="533" y="116"/>
                      <a:pt x="537" y="110"/>
                      <a:pt x="537" y="104"/>
                    </a:cubicBezTo>
                    <a:close/>
                    <a:moveTo>
                      <a:pt x="476" y="68"/>
                    </a:moveTo>
                    <a:lnTo>
                      <a:pt x="452" y="68"/>
                    </a:lnTo>
                    <a:cubicBezTo>
                      <a:pt x="452" y="62"/>
                      <a:pt x="454" y="51"/>
                      <a:pt x="464" y="51"/>
                    </a:cubicBezTo>
                    <a:cubicBezTo>
                      <a:pt x="474" y="51"/>
                      <a:pt x="476" y="62"/>
                      <a:pt x="476" y="68"/>
                    </a:cubicBezTo>
                    <a:moveTo>
                      <a:pt x="496" y="74"/>
                    </a:moveTo>
                    <a:cubicBezTo>
                      <a:pt x="496" y="56"/>
                      <a:pt x="489" y="36"/>
                      <a:pt x="464" y="36"/>
                    </a:cubicBezTo>
                    <a:cubicBezTo>
                      <a:pt x="441" y="36"/>
                      <a:pt x="431" y="56"/>
                      <a:pt x="431" y="76"/>
                    </a:cubicBezTo>
                    <a:cubicBezTo>
                      <a:pt x="431" y="90"/>
                      <a:pt x="435" y="115"/>
                      <a:pt x="462" y="115"/>
                    </a:cubicBezTo>
                    <a:cubicBezTo>
                      <a:pt x="483" y="115"/>
                      <a:pt x="495" y="108"/>
                      <a:pt x="495" y="108"/>
                    </a:cubicBezTo>
                    <a:lnTo>
                      <a:pt x="494" y="92"/>
                    </a:lnTo>
                    <a:cubicBezTo>
                      <a:pt x="494" y="92"/>
                      <a:pt x="480" y="100"/>
                      <a:pt x="466" y="100"/>
                    </a:cubicBezTo>
                    <a:cubicBezTo>
                      <a:pt x="457" y="100"/>
                      <a:pt x="452" y="94"/>
                      <a:pt x="452" y="80"/>
                    </a:cubicBezTo>
                    <a:lnTo>
                      <a:pt x="496" y="80"/>
                    </a:lnTo>
                    <a:cubicBezTo>
                      <a:pt x="496" y="80"/>
                      <a:pt x="496" y="76"/>
                      <a:pt x="496" y="74"/>
                    </a:cubicBezTo>
                    <a:moveTo>
                      <a:pt x="413" y="114"/>
                    </a:moveTo>
                    <a:lnTo>
                      <a:pt x="413" y="54"/>
                    </a:lnTo>
                    <a:cubicBezTo>
                      <a:pt x="413" y="48"/>
                      <a:pt x="412" y="38"/>
                      <a:pt x="412" y="38"/>
                    </a:cubicBezTo>
                    <a:lnTo>
                      <a:pt x="393" y="38"/>
                    </a:lnTo>
                    <a:lnTo>
                      <a:pt x="393" y="114"/>
                    </a:lnTo>
                    <a:lnTo>
                      <a:pt x="413" y="114"/>
                    </a:lnTo>
                    <a:close/>
                    <a:moveTo>
                      <a:pt x="416" y="12"/>
                    </a:moveTo>
                    <a:cubicBezTo>
                      <a:pt x="416" y="6"/>
                      <a:pt x="411" y="0"/>
                      <a:pt x="403" y="0"/>
                    </a:cubicBezTo>
                    <a:cubicBezTo>
                      <a:pt x="395" y="0"/>
                      <a:pt x="391" y="6"/>
                      <a:pt x="391" y="12"/>
                    </a:cubicBezTo>
                    <a:cubicBezTo>
                      <a:pt x="391" y="18"/>
                      <a:pt x="395" y="24"/>
                      <a:pt x="403" y="24"/>
                    </a:cubicBezTo>
                    <a:cubicBezTo>
                      <a:pt x="411" y="24"/>
                      <a:pt x="416" y="18"/>
                      <a:pt x="416" y="12"/>
                    </a:cubicBezTo>
                    <a:close/>
                    <a:moveTo>
                      <a:pt x="353" y="88"/>
                    </a:moveTo>
                    <a:cubicBezTo>
                      <a:pt x="347" y="95"/>
                      <a:pt x="341" y="97"/>
                      <a:pt x="337" y="97"/>
                    </a:cubicBezTo>
                    <a:cubicBezTo>
                      <a:pt x="328" y="97"/>
                      <a:pt x="326" y="83"/>
                      <a:pt x="326" y="75"/>
                    </a:cubicBezTo>
                    <a:cubicBezTo>
                      <a:pt x="326" y="66"/>
                      <a:pt x="327" y="53"/>
                      <a:pt x="339" y="53"/>
                    </a:cubicBezTo>
                    <a:cubicBezTo>
                      <a:pt x="343" y="53"/>
                      <a:pt x="347" y="54"/>
                      <a:pt x="353" y="57"/>
                    </a:cubicBezTo>
                    <a:lnTo>
                      <a:pt x="353" y="88"/>
                    </a:lnTo>
                    <a:close/>
                    <a:moveTo>
                      <a:pt x="375" y="38"/>
                    </a:moveTo>
                    <a:lnTo>
                      <a:pt x="355" y="38"/>
                    </a:lnTo>
                    <a:cubicBezTo>
                      <a:pt x="355" y="38"/>
                      <a:pt x="354" y="40"/>
                      <a:pt x="354" y="42"/>
                    </a:cubicBezTo>
                    <a:cubicBezTo>
                      <a:pt x="352" y="41"/>
                      <a:pt x="345" y="36"/>
                      <a:pt x="336" y="36"/>
                    </a:cubicBezTo>
                    <a:cubicBezTo>
                      <a:pt x="315" y="36"/>
                      <a:pt x="305" y="53"/>
                      <a:pt x="305" y="75"/>
                    </a:cubicBezTo>
                    <a:cubicBezTo>
                      <a:pt x="305" y="90"/>
                      <a:pt x="310" y="114"/>
                      <a:pt x="332" y="114"/>
                    </a:cubicBezTo>
                    <a:cubicBezTo>
                      <a:pt x="344" y="114"/>
                      <a:pt x="352" y="105"/>
                      <a:pt x="353" y="103"/>
                    </a:cubicBezTo>
                    <a:cubicBezTo>
                      <a:pt x="353" y="103"/>
                      <a:pt x="353" y="108"/>
                      <a:pt x="353" y="110"/>
                    </a:cubicBezTo>
                    <a:lnTo>
                      <a:pt x="353" y="115"/>
                    </a:lnTo>
                    <a:cubicBezTo>
                      <a:pt x="353" y="117"/>
                      <a:pt x="353" y="119"/>
                      <a:pt x="352" y="121"/>
                    </a:cubicBezTo>
                    <a:cubicBezTo>
                      <a:pt x="351" y="125"/>
                      <a:pt x="347" y="128"/>
                      <a:pt x="338" y="128"/>
                    </a:cubicBezTo>
                    <a:cubicBezTo>
                      <a:pt x="323" y="128"/>
                      <a:pt x="310" y="122"/>
                      <a:pt x="310" y="122"/>
                    </a:cubicBezTo>
                    <a:lnTo>
                      <a:pt x="309" y="140"/>
                    </a:lnTo>
                    <a:cubicBezTo>
                      <a:pt x="309" y="140"/>
                      <a:pt x="320" y="146"/>
                      <a:pt x="338" y="146"/>
                    </a:cubicBezTo>
                    <a:cubicBezTo>
                      <a:pt x="357" y="146"/>
                      <a:pt x="369" y="139"/>
                      <a:pt x="373" y="125"/>
                    </a:cubicBezTo>
                    <a:cubicBezTo>
                      <a:pt x="373" y="122"/>
                      <a:pt x="373" y="116"/>
                      <a:pt x="373" y="112"/>
                    </a:cubicBezTo>
                    <a:lnTo>
                      <a:pt x="373" y="56"/>
                    </a:lnTo>
                    <a:cubicBezTo>
                      <a:pt x="373" y="47"/>
                      <a:pt x="375" y="38"/>
                      <a:pt x="375" y="38"/>
                    </a:cubicBezTo>
                    <a:moveTo>
                      <a:pt x="294" y="38"/>
                    </a:moveTo>
                    <a:cubicBezTo>
                      <a:pt x="294" y="38"/>
                      <a:pt x="293" y="37"/>
                      <a:pt x="285" y="37"/>
                    </a:cubicBezTo>
                    <a:cubicBezTo>
                      <a:pt x="279" y="37"/>
                      <a:pt x="273" y="42"/>
                      <a:pt x="270" y="45"/>
                    </a:cubicBezTo>
                    <a:cubicBezTo>
                      <a:pt x="270" y="46"/>
                      <a:pt x="269" y="47"/>
                      <a:pt x="269" y="47"/>
                    </a:cubicBezTo>
                    <a:cubicBezTo>
                      <a:pt x="269" y="43"/>
                      <a:pt x="268" y="38"/>
                      <a:pt x="268" y="38"/>
                    </a:cubicBezTo>
                    <a:lnTo>
                      <a:pt x="248" y="38"/>
                    </a:lnTo>
                    <a:cubicBezTo>
                      <a:pt x="248" y="38"/>
                      <a:pt x="249" y="47"/>
                      <a:pt x="249" y="56"/>
                    </a:cubicBezTo>
                    <a:lnTo>
                      <a:pt x="249" y="114"/>
                    </a:lnTo>
                    <a:lnTo>
                      <a:pt x="270" y="114"/>
                    </a:lnTo>
                    <a:lnTo>
                      <a:pt x="270" y="60"/>
                    </a:lnTo>
                    <a:cubicBezTo>
                      <a:pt x="275" y="56"/>
                      <a:pt x="279" y="53"/>
                      <a:pt x="282" y="53"/>
                    </a:cubicBezTo>
                    <a:cubicBezTo>
                      <a:pt x="288" y="53"/>
                      <a:pt x="292" y="54"/>
                      <a:pt x="292" y="54"/>
                    </a:cubicBezTo>
                    <a:lnTo>
                      <a:pt x="294" y="38"/>
                    </a:lnTo>
                    <a:close/>
                    <a:moveTo>
                      <a:pt x="211" y="68"/>
                    </a:moveTo>
                    <a:lnTo>
                      <a:pt x="187" y="68"/>
                    </a:lnTo>
                    <a:cubicBezTo>
                      <a:pt x="187" y="62"/>
                      <a:pt x="189" y="51"/>
                      <a:pt x="198" y="51"/>
                    </a:cubicBezTo>
                    <a:cubicBezTo>
                      <a:pt x="209" y="51"/>
                      <a:pt x="211" y="62"/>
                      <a:pt x="211" y="68"/>
                    </a:cubicBezTo>
                    <a:moveTo>
                      <a:pt x="231" y="74"/>
                    </a:moveTo>
                    <a:cubicBezTo>
                      <a:pt x="231" y="56"/>
                      <a:pt x="224" y="36"/>
                      <a:pt x="198" y="36"/>
                    </a:cubicBezTo>
                    <a:cubicBezTo>
                      <a:pt x="176" y="36"/>
                      <a:pt x="165" y="56"/>
                      <a:pt x="165" y="76"/>
                    </a:cubicBezTo>
                    <a:cubicBezTo>
                      <a:pt x="165" y="90"/>
                      <a:pt x="170" y="115"/>
                      <a:pt x="197" y="115"/>
                    </a:cubicBezTo>
                    <a:cubicBezTo>
                      <a:pt x="218" y="115"/>
                      <a:pt x="230" y="108"/>
                      <a:pt x="230" y="108"/>
                    </a:cubicBezTo>
                    <a:lnTo>
                      <a:pt x="229" y="92"/>
                    </a:lnTo>
                    <a:cubicBezTo>
                      <a:pt x="229" y="92"/>
                      <a:pt x="214" y="100"/>
                      <a:pt x="200" y="100"/>
                    </a:cubicBezTo>
                    <a:cubicBezTo>
                      <a:pt x="191" y="100"/>
                      <a:pt x="187" y="94"/>
                      <a:pt x="187" y="80"/>
                    </a:cubicBezTo>
                    <a:lnTo>
                      <a:pt x="231" y="80"/>
                    </a:lnTo>
                    <a:cubicBezTo>
                      <a:pt x="231" y="80"/>
                      <a:pt x="231" y="76"/>
                      <a:pt x="231" y="74"/>
                    </a:cubicBezTo>
                    <a:moveTo>
                      <a:pt x="148" y="114"/>
                    </a:moveTo>
                    <a:lnTo>
                      <a:pt x="148" y="62"/>
                    </a:lnTo>
                    <a:cubicBezTo>
                      <a:pt x="148" y="55"/>
                      <a:pt x="147" y="49"/>
                      <a:pt x="144" y="45"/>
                    </a:cubicBezTo>
                    <a:cubicBezTo>
                      <a:pt x="141" y="39"/>
                      <a:pt x="135" y="36"/>
                      <a:pt x="126" y="36"/>
                    </a:cubicBezTo>
                    <a:cubicBezTo>
                      <a:pt x="115" y="36"/>
                      <a:pt x="104" y="45"/>
                      <a:pt x="101" y="48"/>
                    </a:cubicBezTo>
                    <a:cubicBezTo>
                      <a:pt x="101" y="43"/>
                      <a:pt x="101" y="38"/>
                      <a:pt x="101" y="38"/>
                    </a:cubicBezTo>
                    <a:lnTo>
                      <a:pt x="81" y="38"/>
                    </a:lnTo>
                    <a:cubicBezTo>
                      <a:pt x="81" y="38"/>
                      <a:pt x="82" y="47"/>
                      <a:pt x="82" y="56"/>
                    </a:cubicBezTo>
                    <a:lnTo>
                      <a:pt x="82" y="114"/>
                    </a:lnTo>
                    <a:lnTo>
                      <a:pt x="102" y="114"/>
                    </a:lnTo>
                    <a:lnTo>
                      <a:pt x="102" y="62"/>
                    </a:lnTo>
                    <a:cubicBezTo>
                      <a:pt x="105" y="59"/>
                      <a:pt x="112" y="54"/>
                      <a:pt x="119" y="54"/>
                    </a:cubicBezTo>
                    <a:cubicBezTo>
                      <a:pt x="124" y="54"/>
                      <a:pt x="128" y="55"/>
                      <a:pt x="128" y="64"/>
                    </a:cubicBezTo>
                    <a:lnTo>
                      <a:pt x="128" y="114"/>
                    </a:lnTo>
                    <a:lnTo>
                      <a:pt x="148" y="114"/>
                    </a:lnTo>
                    <a:close/>
                    <a:moveTo>
                      <a:pt x="66" y="114"/>
                    </a:moveTo>
                    <a:lnTo>
                      <a:pt x="66" y="96"/>
                    </a:lnTo>
                    <a:lnTo>
                      <a:pt x="21" y="96"/>
                    </a:lnTo>
                    <a:lnTo>
                      <a:pt x="21" y="69"/>
                    </a:lnTo>
                    <a:lnTo>
                      <a:pt x="57" y="69"/>
                    </a:lnTo>
                    <a:lnTo>
                      <a:pt x="57" y="52"/>
                    </a:lnTo>
                    <a:lnTo>
                      <a:pt x="21" y="52"/>
                    </a:lnTo>
                    <a:lnTo>
                      <a:pt x="21" y="29"/>
                    </a:lnTo>
                    <a:lnTo>
                      <a:pt x="62" y="29"/>
                    </a:lnTo>
                    <a:lnTo>
                      <a:pt x="64" y="11"/>
                    </a:lnTo>
                    <a:lnTo>
                      <a:pt x="0" y="11"/>
                    </a:lnTo>
                    <a:lnTo>
                      <a:pt x="0" y="114"/>
                    </a:lnTo>
                    <a:lnTo>
                      <a:pt x="66" y="1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" name="Freeform 39">
                <a:extLst>
                  <a:ext uri="{FF2B5EF4-FFF2-40B4-BE49-F238E27FC236}">
                    <a16:creationId xmlns:a16="http://schemas.microsoft.com/office/drawing/2014/main" id="{00F058F1-69EE-4BBD-8ADE-11F9C49B3E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29374" y="990263"/>
                <a:ext cx="354012" cy="273050"/>
              </a:xfrm>
              <a:custGeom>
                <a:avLst/>
                <a:gdLst>
                  <a:gd name="T0" fmla="*/ 0 w 443"/>
                  <a:gd name="T1" fmla="*/ 0 h 341"/>
                  <a:gd name="T2" fmla="*/ 0 w 443"/>
                  <a:gd name="T3" fmla="*/ 217 h 341"/>
                  <a:gd name="T4" fmla="*/ 131 w 443"/>
                  <a:gd name="T5" fmla="*/ 341 h 341"/>
                  <a:gd name="T6" fmla="*/ 222 w 443"/>
                  <a:gd name="T7" fmla="*/ 300 h 341"/>
                  <a:gd name="T8" fmla="*/ 313 w 443"/>
                  <a:gd name="T9" fmla="*/ 341 h 341"/>
                  <a:gd name="T10" fmla="*/ 443 w 443"/>
                  <a:gd name="T11" fmla="*/ 217 h 341"/>
                  <a:gd name="T12" fmla="*/ 443 w 443"/>
                  <a:gd name="T13" fmla="*/ 0 h 341"/>
                  <a:gd name="T14" fmla="*/ 365 w 443"/>
                  <a:gd name="T15" fmla="*/ 0 h 341"/>
                  <a:gd name="T16" fmla="*/ 365 w 443"/>
                  <a:gd name="T17" fmla="*/ 219 h 341"/>
                  <a:gd name="T18" fmla="*/ 313 w 443"/>
                  <a:gd name="T19" fmla="*/ 268 h 341"/>
                  <a:gd name="T20" fmla="*/ 261 w 443"/>
                  <a:gd name="T21" fmla="*/ 219 h 341"/>
                  <a:gd name="T22" fmla="*/ 261 w 443"/>
                  <a:gd name="T23" fmla="*/ 0 h 341"/>
                  <a:gd name="T24" fmla="*/ 183 w 443"/>
                  <a:gd name="T25" fmla="*/ 0 h 341"/>
                  <a:gd name="T26" fmla="*/ 183 w 443"/>
                  <a:gd name="T27" fmla="*/ 219 h 341"/>
                  <a:gd name="T28" fmla="*/ 131 w 443"/>
                  <a:gd name="T29" fmla="*/ 268 h 341"/>
                  <a:gd name="T30" fmla="*/ 79 w 443"/>
                  <a:gd name="T31" fmla="*/ 219 h 341"/>
                  <a:gd name="T32" fmla="*/ 79 w 443"/>
                  <a:gd name="T33" fmla="*/ 0 h 341"/>
                  <a:gd name="T34" fmla="*/ 0 w 443"/>
                  <a:gd name="T35" fmla="*/ 0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3" h="341">
                    <a:moveTo>
                      <a:pt x="0" y="0"/>
                    </a:moveTo>
                    <a:lnTo>
                      <a:pt x="0" y="217"/>
                    </a:lnTo>
                    <a:cubicBezTo>
                      <a:pt x="0" y="285"/>
                      <a:pt x="59" y="341"/>
                      <a:pt x="131" y="341"/>
                    </a:cubicBezTo>
                    <a:cubicBezTo>
                      <a:pt x="165" y="341"/>
                      <a:pt x="205" y="322"/>
                      <a:pt x="222" y="300"/>
                    </a:cubicBezTo>
                    <a:cubicBezTo>
                      <a:pt x="239" y="322"/>
                      <a:pt x="279" y="341"/>
                      <a:pt x="313" y="341"/>
                    </a:cubicBezTo>
                    <a:cubicBezTo>
                      <a:pt x="385" y="341"/>
                      <a:pt x="443" y="285"/>
                      <a:pt x="443" y="217"/>
                    </a:cubicBezTo>
                    <a:lnTo>
                      <a:pt x="443" y="0"/>
                    </a:lnTo>
                    <a:lnTo>
                      <a:pt x="365" y="0"/>
                    </a:lnTo>
                    <a:lnTo>
                      <a:pt x="365" y="219"/>
                    </a:lnTo>
                    <a:cubicBezTo>
                      <a:pt x="365" y="246"/>
                      <a:pt x="342" y="268"/>
                      <a:pt x="313" y="268"/>
                    </a:cubicBezTo>
                    <a:cubicBezTo>
                      <a:pt x="285" y="268"/>
                      <a:pt x="261" y="246"/>
                      <a:pt x="261" y="219"/>
                    </a:cubicBezTo>
                    <a:lnTo>
                      <a:pt x="261" y="0"/>
                    </a:lnTo>
                    <a:lnTo>
                      <a:pt x="183" y="0"/>
                    </a:lnTo>
                    <a:lnTo>
                      <a:pt x="183" y="219"/>
                    </a:lnTo>
                    <a:cubicBezTo>
                      <a:pt x="183" y="246"/>
                      <a:pt x="159" y="268"/>
                      <a:pt x="131" y="268"/>
                    </a:cubicBezTo>
                    <a:cubicBezTo>
                      <a:pt x="102" y="268"/>
                      <a:pt x="79" y="246"/>
                      <a:pt x="79" y="219"/>
                    </a:cubicBez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" name="Freeform 40">
                <a:extLst>
                  <a:ext uri="{FF2B5EF4-FFF2-40B4-BE49-F238E27FC236}">
                    <a16:creationId xmlns:a16="http://schemas.microsoft.com/office/drawing/2014/main" id="{E434CE9D-1FE1-41C8-844C-417651D96A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30924" y="982325"/>
                <a:ext cx="276225" cy="277813"/>
              </a:xfrm>
              <a:custGeom>
                <a:avLst/>
                <a:gdLst>
                  <a:gd name="T0" fmla="*/ 345 w 347"/>
                  <a:gd name="T1" fmla="*/ 199 h 348"/>
                  <a:gd name="T2" fmla="*/ 347 w 347"/>
                  <a:gd name="T3" fmla="*/ 174 h 348"/>
                  <a:gd name="T4" fmla="*/ 174 w 347"/>
                  <a:gd name="T5" fmla="*/ 0 h 348"/>
                  <a:gd name="T6" fmla="*/ 0 w 347"/>
                  <a:gd name="T7" fmla="*/ 174 h 348"/>
                  <a:gd name="T8" fmla="*/ 174 w 347"/>
                  <a:gd name="T9" fmla="*/ 348 h 348"/>
                  <a:gd name="T10" fmla="*/ 336 w 347"/>
                  <a:gd name="T11" fmla="*/ 237 h 348"/>
                  <a:gd name="T12" fmla="*/ 254 w 347"/>
                  <a:gd name="T13" fmla="*/ 237 h 348"/>
                  <a:gd name="T14" fmla="*/ 174 w 347"/>
                  <a:gd name="T15" fmla="*/ 276 h 348"/>
                  <a:gd name="T16" fmla="*/ 71 w 347"/>
                  <a:gd name="T17" fmla="*/ 174 h 348"/>
                  <a:gd name="T18" fmla="*/ 174 w 347"/>
                  <a:gd name="T19" fmla="*/ 71 h 348"/>
                  <a:gd name="T20" fmla="*/ 265 w 347"/>
                  <a:gd name="T21" fmla="*/ 128 h 348"/>
                  <a:gd name="T22" fmla="*/ 141 w 347"/>
                  <a:gd name="T23" fmla="*/ 128 h 348"/>
                  <a:gd name="T24" fmla="*/ 141 w 347"/>
                  <a:gd name="T25" fmla="*/ 199 h 348"/>
                  <a:gd name="T26" fmla="*/ 345 w 347"/>
                  <a:gd name="T27" fmla="*/ 199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7" h="348">
                    <a:moveTo>
                      <a:pt x="345" y="199"/>
                    </a:moveTo>
                    <a:cubicBezTo>
                      <a:pt x="347" y="191"/>
                      <a:pt x="347" y="183"/>
                      <a:pt x="347" y="174"/>
                    </a:cubicBezTo>
                    <a:cubicBezTo>
                      <a:pt x="347" y="78"/>
                      <a:pt x="270" y="0"/>
                      <a:pt x="174" y="0"/>
                    </a:cubicBezTo>
                    <a:cubicBezTo>
                      <a:pt x="78" y="0"/>
                      <a:pt x="0" y="78"/>
                      <a:pt x="0" y="174"/>
                    </a:cubicBezTo>
                    <a:cubicBezTo>
                      <a:pt x="0" y="270"/>
                      <a:pt x="78" y="348"/>
                      <a:pt x="174" y="348"/>
                    </a:cubicBezTo>
                    <a:cubicBezTo>
                      <a:pt x="248" y="348"/>
                      <a:pt x="310" y="301"/>
                      <a:pt x="336" y="237"/>
                    </a:cubicBezTo>
                    <a:lnTo>
                      <a:pt x="254" y="237"/>
                    </a:lnTo>
                    <a:cubicBezTo>
                      <a:pt x="235" y="260"/>
                      <a:pt x="206" y="276"/>
                      <a:pt x="174" y="276"/>
                    </a:cubicBezTo>
                    <a:cubicBezTo>
                      <a:pt x="117" y="276"/>
                      <a:pt x="71" y="230"/>
                      <a:pt x="71" y="174"/>
                    </a:cubicBezTo>
                    <a:cubicBezTo>
                      <a:pt x="71" y="117"/>
                      <a:pt x="117" y="71"/>
                      <a:pt x="174" y="71"/>
                    </a:cubicBezTo>
                    <a:cubicBezTo>
                      <a:pt x="214" y="71"/>
                      <a:pt x="248" y="95"/>
                      <a:pt x="265" y="128"/>
                    </a:cubicBezTo>
                    <a:lnTo>
                      <a:pt x="141" y="128"/>
                    </a:lnTo>
                    <a:lnTo>
                      <a:pt x="141" y="199"/>
                    </a:lnTo>
                    <a:lnTo>
                      <a:pt x="345" y="19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" name="Freeform 41">
                <a:extLst>
                  <a:ext uri="{FF2B5EF4-FFF2-40B4-BE49-F238E27FC236}">
                    <a16:creationId xmlns:a16="http://schemas.microsoft.com/office/drawing/2014/main" id="{BBB5E07F-A6F4-4315-AD65-C9C277A678F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34061" y="868025"/>
                <a:ext cx="276225" cy="395288"/>
              </a:xfrm>
              <a:custGeom>
                <a:avLst/>
                <a:gdLst>
                  <a:gd name="T0" fmla="*/ 273 w 347"/>
                  <a:gd name="T1" fmla="*/ 0 h 496"/>
                  <a:gd name="T2" fmla="*/ 273 w 347"/>
                  <a:gd name="T3" fmla="*/ 184 h 496"/>
                  <a:gd name="T4" fmla="*/ 173 w 347"/>
                  <a:gd name="T5" fmla="*/ 150 h 496"/>
                  <a:gd name="T6" fmla="*/ 0 w 347"/>
                  <a:gd name="T7" fmla="*/ 323 h 496"/>
                  <a:gd name="T8" fmla="*/ 173 w 347"/>
                  <a:gd name="T9" fmla="*/ 496 h 496"/>
                  <a:gd name="T10" fmla="*/ 273 w 347"/>
                  <a:gd name="T11" fmla="*/ 463 h 496"/>
                  <a:gd name="T12" fmla="*/ 273 w 347"/>
                  <a:gd name="T13" fmla="*/ 492 h 496"/>
                  <a:gd name="T14" fmla="*/ 347 w 347"/>
                  <a:gd name="T15" fmla="*/ 492 h 496"/>
                  <a:gd name="T16" fmla="*/ 347 w 347"/>
                  <a:gd name="T17" fmla="*/ 0 h 496"/>
                  <a:gd name="T18" fmla="*/ 273 w 347"/>
                  <a:gd name="T19" fmla="*/ 0 h 496"/>
                  <a:gd name="T20" fmla="*/ 196 w 347"/>
                  <a:gd name="T21" fmla="*/ 421 h 496"/>
                  <a:gd name="T22" fmla="*/ 173 w 347"/>
                  <a:gd name="T23" fmla="*/ 425 h 496"/>
                  <a:gd name="T24" fmla="*/ 134 w 347"/>
                  <a:gd name="T25" fmla="*/ 416 h 496"/>
                  <a:gd name="T26" fmla="*/ 71 w 347"/>
                  <a:gd name="T27" fmla="*/ 321 h 496"/>
                  <a:gd name="T28" fmla="*/ 173 w 347"/>
                  <a:gd name="T29" fmla="*/ 219 h 496"/>
                  <a:gd name="T30" fmla="*/ 276 w 347"/>
                  <a:gd name="T31" fmla="*/ 321 h 496"/>
                  <a:gd name="T32" fmla="*/ 196 w 347"/>
                  <a:gd name="T33" fmla="*/ 421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7" h="496">
                    <a:moveTo>
                      <a:pt x="273" y="0"/>
                    </a:moveTo>
                    <a:lnTo>
                      <a:pt x="273" y="184"/>
                    </a:lnTo>
                    <a:cubicBezTo>
                      <a:pt x="245" y="163"/>
                      <a:pt x="211" y="150"/>
                      <a:pt x="173" y="150"/>
                    </a:cubicBezTo>
                    <a:cubicBezTo>
                      <a:pt x="77" y="150"/>
                      <a:pt x="0" y="227"/>
                      <a:pt x="0" y="323"/>
                    </a:cubicBezTo>
                    <a:cubicBezTo>
                      <a:pt x="0" y="418"/>
                      <a:pt x="77" y="496"/>
                      <a:pt x="173" y="496"/>
                    </a:cubicBezTo>
                    <a:cubicBezTo>
                      <a:pt x="211" y="496"/>
                      <a:pt x="245" y="484"/>
                      <a:pt x="273" y="463"/>
                    </a:cubicBezTo>
                    <a:lnTo>
                      <a:pt x="273" y="492"/>
                    </a:lnTo>
                    <a:lnTo>
                      <a:pt x="347" y="492"/>
                    </a:lnTo>
                    <a:lnTo>
                      <a:pt x="347" y="0"/>
                    </a:lnTo>
                    <a:lnTo>
                      <a:pt x="273" y="0"/>
                    </a:lnTo>
                    <a:close/>
                    <a:moveTo>
                      <a:pt x="196" y="421"/>
                    </a:moveTo>
                    <a:cubicBezTo>
                      <a:pt x="189" y="423"/>
                      <a:pt x="181" y="425"/>
                      <a:pt x="173" y="425"/>
                    </a:cubicBezTo>
                    <a:cubicBezTo>
                      <a:pt x="159" y="425"/>
                      <a:pt x="146" y="421"/>
                      <a:pt x="134" y="416"/>
                    </a:cubicBezTo>
                    <a:cubicBezTo>
                      <a:pt x="97" y="401"/>
                      <a:pt x="71" y="364"/>
                      <a:pt x="71" y="321"/>
                    </a:cubicBezTo>
                    <a:cubicBezTo>
                      <a:pt x="71" y="265"/>
                      <a:pt x="117" y="219"/>
                      <a:pt x="173" y="219"/>
                    </a:cubicBezTo>
                    <a:cubicBezTo>
                      <a:pt x="230" y="219"/>
                      <a:pt x="276" y="265"/>
                      <a:pt x="276" y="321"/>
                    </a:cubicBezTo>
                    <a:cubicBezTo>
                      <a:pt x="276" y="370"/>
                      <a:pt x="242" y="411"/>
                      <a:pt x="196" y="42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" name="Freeform 42">
                <a:extLst>
                  <a:ext uri="{FF2B5EF4-FFF2-40B4-BE49-F238E27FC236}">
                    <a16:creationId xmlns:a16="http://schemas.microsoft.com/office/drawing/2014/main" id="{9AF2ED87-6699-4980-BBB8-7F6D1D4D718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868025"/>
                <a:ext cx="277812" cy="395288"/>
              </a:xfrm>
              <a:custGeom>
                <a:avLst/>
                <a:gdLst>
                  <a:gd name="T0" fmla="*/ 175 w 348"/>
                  <a:gd name="T1" fmla="*/ 150 h 496"/>
                  <a:gd name="T2" fmla="*/ 75 w 348"/>
                  <a:gd name="T3" fmla="*/ 184 h 496"/>
                  <a:gd name="T4" fmla="*/ 75 w 348"/>
                  <a:gd name="T5" fmla="*/ 0 h 496"/>
                  <a:gd name="T6" fmla="*/ 0 w 348"/>
                  <a:gd name="T7" fmla="*/ 0 h 496"/>
                  <a:gd name="T8" fmla="*/ 0 w 348"/>
                  <a:gd name="T9" fmla="*/ 492 h 496"/>
                  <a:gd name="T10" fmla="*/ 75 w 348"/>
                  <a:gd name="T11" fmla="*/ 492 h 496"/>
                  <a:gd name="T12" fmla="*/ 75 w 348"/>
                  <a:gd name="T13" fmla="*/ 463 h 496"/>
                  <a:gd name="T14" fmla="*/ 175 w 348"/>
                  <a:gd name="T15" fmla="*/ 496 h 496"/>
                  <a:gd name="T16" fmla="*/ 348 w 348"/>
                  <a:gd name="T17" fmla="*/ 323 h 496"/>
                  <a:gd name="T18" fmla="*/ 175 w 348"/>
                  <a:gd name="T19" fmla="*/ 150 h 496"/>
                  <a:gd name="T20" fmla="*/ 214 w 348"/>
                  <a:gd name="T21" fmla="*/ 416 h 496"/>
                  <a:gd name="T22" fmla="*/ 175 w 348"/>
                  <a:gd name="T23" fmla="*/ 425 h 496"/>
                  <a:gd name="T24" fmla="*/ 152 w 348"/>
                  <a:gd name="T25" fmla="*/ 421 h 496"/>
                  <a:gd name="T26" fmla="*/ 72 w 348"/>
                  <a:gd name="T27" fmla="*/ 321 h 496"/>
                  <a:gd name="T28" fmla="*/ 175 w 348"/>
                  <a:gd name="T29" fmla="*/ 219 h 496"/>
                  <a:gd name="T30" fmla="*/ 277 w 348"/>
                  <a:gd name="T31" fmla="*/ 321 h 496"/>
                  <a:gd name="T32" fmla="*/ 214 w 348"/>
                  <a:gd name="T33" fmla="*/ 41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8" h="496">
                    <a:moveTo>
                      <a:pt x="175" y="150"/>
                    </a:moveTo>
                    <a:cubicBezTo>
                      <a:pt x="137" y="150"/>
                      <a:pt x="103" y="163"/>
                      <a:pt x="75" y="184"/>
                    </a:cubicBezTo>
                    <a:lnTo>
                      <a:pt x="75" y="0"/>
                    </a:lnTo>
                    <a:lnTo>
                      <a:pt x="0" y="0"/>
                    </a:lnTo>
                    <a:lnTo>
                      <a:pt x="0" y="492"/>
                    </a:lnTo>
                    <a:lnTo>
                      <a:pt x="75" y="492"/>
                    </a:lnTo>
                    <a:lnTo>
                      <a:pt x="75" y="463"/>
                    </a:lnTo>
                    <a:cubicBezTo>
                      <a:pt x="103" y="484"/>
                      <a:pt x="137" y="496"/>
                      <a:pt x="175" y="496"/>
                    </a:cubicBezTo>
                    <a:cubicBezTo>
                      <a:pt x="271" y="496"/>
                      <a:pt x="348" y="418"/>
                      <a:pt x="348" y="323"/>
                    </a:cubicBezTo>
                    <a:cubicBezTo>
                      <a:pt x="348" y="227"/>
                      <a:pt x="271" y="150"/>
                      <a:pt x="175" y="150"/>
                    </a:cubicBezTo>
                    <a:close/>
                    <a:moveTo>
                      <a:pt x="214" y="416"/>
                    </a:moveTo>
                    <a:cubicBezTo>
                      <a:pt x="202" y="421"/>
                      <a:pt x="189" y="425"/>
                      <a:pt x="175" y="425"/>
                    </a:cubicBezTo>
                    <a:cubicBezTo>
                      <a:pt x="167" y="425"/>
                      <a:pt x="159" y="423"/>
                      <a:pt x="152" y="421"/>
                    </a:cubicBezTo>
                    <a:cubicBezTo>
                      <a:pt x="106" y="411"/>
                      <a:pt x="72" y="370"/>
                      <a:pt x="72" y="321"/>
                    </a:cubicBezTo>
                    <a:cubicBezTo>
                      <a:pt x="72" y="265"/>
                      <a:pt x="118" y="219"/>
                      <a:pt x="175" y="219"/>
                    </a:cubicBezTo>
                    <a:cubicBezTo>
                      <a:pt x="231" y="219"/>
                      <a:pt x="277" y="265"/>
                      <a:pt x="277" y="321"/>
                    </a:cubicBezTo>
                    <a:cubicBezTo>
                      <a:pt x="277" y="364"/>
                      <a:pt x="251" y="401"/>
                      <a:pt x="214" y="4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18" name="Datumsplatzhalter 1">
            <a:extLst>
              <a:ext uri="{FF2B5EF4-FFF2-40B4-BE49-F238E27FC236}">
                <a16:creationId xmlns:a16="http://schemas.microsoft.com/office/drawing/2014/main" id="{43DD7F9F-2855-4830-A373-AF49F7C61D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1255" y="4680619"/>
            <a:ext cx="504000" cy="144000"/>
          </a:xfrm>
        </p:spPr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9" name="Fußzeilenplatzhalter 2">
            <a:extLst>
              <a:ext uri="{FF2B5EF4-FFF2-40B4-BE49-F238E27FC236}">
                <a16:creationId xmlns:a16="http://schemas.microsoft.com/office/drawing/2014/main" id="{FE266F2A-28EC-48BD-BC96-7219E0BAB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9951" y="4680619"/>
            <a:ext cx="5184000" cy="144000"/>
          </a:xfrm>
        </p:spPr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E849CC5B-DAB4-4C3E-A247-3DA19D3A26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23367" y="4680635"/>
            <a:ext cx="216000" cy="144000"/>
          </a:xfrm>
        </p:spPr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  <p:sp>
        <p:nvSpPr>
          <p:cNvPr id="21" name="Textplatzhalter 24">
            <a:extLst>
              <a:ext uri="{FF2B5EF4-FFF2-40B4-BE49-F238E27FC236}">
                <a16:creationId xmlns:a16="http://schemas.microsoft.com/office/drawing/2014/main" id="{E66F64E5-8C6D-46DC-91CA-9F9919F7293C}"/>
              </a:ext>
            </a:extLst>
          </p:cNvPr>
          <p:cNvSpPr txBox="1">
            <a:spLocks/>
          </p:cNvSpPr>
          <p:nvPr/>
        </p:nvSpPr>
        <p:spPr>
          <a:xfrm>
            <a:off x="431255" y="3816603"/>
            <a:ext cx="6480000" cy="7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de-DE" sz="1600" b="1" dirty="0"/>
              <a:t>BDEW Bundesverband der Energie- und Wasserwirtschaft e.V.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600" dirty="0"/>
              <a:t>Reinhardtstraße 32 · 10117 Berlin</a:t>
            </a:r>
          </a:p>
          <a:p>
            <a:pPr marL="0" marR="0" lvl="0" indent="0" algn="l" defTabSz="69115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sz="1600" dirty="0"/>
              <a:t>www.bdew.d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65B0DE1-C91A-4A7F-BB4F-FCFEEFCE8496}"/>
              </a:ext>
            </a:extLst>
          </p:cNvPr>
          <p:cNvSpPr txBox="1"/>
          <p:nvPr/>
        </p:nvSpPr>
        <p:spPr>
          <a:xfrm>
            <a:off x="1022968" y="4680635"/>
            <a:ext cx="200375" cy="144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indent="0" algn="r">
              <a:spcAft>
                <a:spcPts val="1000"/>
              </a:spcAft>
              <a:buClr>
                <a:schemeClr val="accent1"/>
              </a:buClr>
              <a:buFont typeface="Calibri" panose="020F0502020204030204" pitchFamily="34" charset="0"/>
              <a:buNone/>
            </a:pPr>
            <a:r>
              <a:rPr lang="de-DE" sz="800" dirty="0">
                <a:solidFill>
                  <a:schemeClr val="accent3"/>
                </a:solidFill>
              </a:rPr>
              <a:t>Foli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AC1951E-B13C-448C-B9FF-CE5D407BB1A7}"/>
              </a:ext>
            </a:extLst>
          </p:cNvPr>
          <p:cNvSpPr txBox="1"/>
          <p:nvPr/>
        </p:nvSpPr>
        <p:spPr>
          <a:xfrm>
            <a:off x="431040" y="868025"/>
            <a:ext cx="6176099" cy="646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defTabSz="691157">
              <a:lnSpc>
                <a:spcPct val="90000"/>
              </a:lnSpc>
              <a:spcBef>
                <a:spcPct val="0"/>
              </a:spcBef>
              <a:buNone/>
              <a:defRPr sz="26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Vielen Dank für Ihre Aufmerksamkeit!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BC36029-6541-415E-9317-378C674F76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801" y="3096467"/>
            <a:ext cx="3096000" cy="216000"/>
          </a:xfrm>
        </p:spPr>
        <p:txBody>
          <a:bodyPr/>
          <a:lstStyle>
            <a:lvl1pPr marL="0" indent="0">
              <a:buNone/>
              <a:tabLst>
                <a:tab pos="358775" algn="l"/>
                <a:tab pos="1611313" algn="l"/>
                <a:tab pos="2333625" algn="l"/>
              </a:tabLst>
              <a:defRPr sz="1600"/>
            </a:lvl1pPr>
          </a:lstStyle>
          <a:p>
            <a:pPr lvl="0"/>
            <a:r>
              <a:rPr lang="de-DE" dirty="0"/>
              <a:t>Optional Mobilnummer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F90F4C6-61C6-4E68-8F42-B7E23F08BB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799" y="1800419"/>
            <a:ext cx="3096000" cy="129420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0"/>
            </a:lvl1pPr>
          </a:lstStyle>
          <a:p>
            <a:pPr lvl="0"/>
            <a:r>
              <a:rPr lang="de-DE" dirty="0"/>
              <a:t>Persönliche Angaben: Vorname Name</a:t>
            </a:r>
            <a:br>
              <a:rPr lang="de-DE" dirty="0"/>
            </a:br>
            <a:r>
              <a:rPr lang="de-DE" dirty="0"/>
              <a:t>Funktion</a:t>
            </a:r>
            <a:br>
              <a:rPr lang="de-DE" dirty="0"/>
            </a:br>
            <a:r>
              <a:rPr lang="de-DE" dirty="0"/>
              <a:t>Organisationseinheit</a:t>
            </a:r>
            <a:br>
              <a:rPr lang="de-DE" dirty="0"/>
            </a:br>
            <a:r>
              <a:rPr lang="de-DE" dirty="0" err="1"/>
              <a:t>Organisationseinheit</a:t>
            </a:r>
            <a:r>
              <a:rPr lang="de-DE" dirty="0"/>
              <a:t> zweite Zeile</a:t>
            </a:r>
          </a:p>
          <a:p>
            <a:pPr lvl="0"/>
            <a:endParaRPr lang="de-DE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23750F27-A832-4E35-9F03-7599561BF3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3312491"/>
            <a:ext cx="3096000" cy="216000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magdalena.muster@bdew.de</a:t>
            </a:r>
          </a:p>
        </p:txBody>
      </p:sp>
      <p:sp>
        <p:nvSpPr>
          <p:cNvPr id="42" name="Textplatzhalter 31">
            <a:extLst>
              <a:ext uri="{FF2B5EF4-FFF2-40B4-BE49-F238E27FC236}">
                <a16:creationId xmlns:a16="http://schemas.microsoft.com/office/drawing/2014/main" id="{40CE4D16-94F3-43E3-8E4A-7FE8224C6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5975" y="1800419"/>
            <a:ext cx="3096000" cy="129420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0"/>
            </a:lvl1pPr>
          </a:lstStyle>
          <a:p>
            <a:pPr lvl="0"/>
            <a:r>
              <a:rPr lang="de-DE" dirty="0"/>
              <a:t>Persönliche Angaben: Vorname Name</a:t>
            </a:r>
            <a:br>
              <a:rPr lang="de-DE" dirty="0"/>
            </a:br>
            <a:r>
              <a:rPr lang="de-DE" dirty="0"/>
              <a:t>Funktion</a:t>
            </a:r>
            <a:br>
              <a:rPr lang="de-DE" dirty="0"/>
            </a:br>
            <a:r>
              <a:rPr lang="de-DE" dirty="0"/>
              <a:t>Organisationseinheit</a:t>
            </a:r>
            <a:br>
              <a:rPr lang="de-DE" dirty="0"/>
            </a:br>
            <a:r>
              <a:rPr lang="de-DE" dirty="0" err="1"/>
              <a:t>Organisationseinheit</a:t>
            </a:r>
            <a:r>
              <a:rPr lang="de-DE" dirty="0"/>
              <a:t> zweite Zeile</a:t>
            </a:r>
          </a:p>
          <a:p>
            <a:pPr lvl="0"/>
            <a:endParaRPr lang="de-DE" dirty="0"/>
          </a:p>
        </p:txBody>
      </p:sp>
      <p:sp>
        <p:nvSpPr>
          <p:cNvPr id="43" name="Textplatzhalter 24">
            <a:extLst>
              <a:ext uri="{FF2B5EF4-FFF2-40B4-BE49-F238E27FC236}">
                <a16:creationId xmlns:a16="http://schemas.microsoft.com/office/drawing/2014/main" id="{95A9D64B-3BB8-46D4-993D-1EAB95B62116}"/>
              </a:ext>
            </a:extLst>
          </p:cNvPr>
          <p:cNvSpPr txBox="1">
            <a:spLocks/>
          </p:cNvSpPr>
          <p:nvPr/>
        </p:nvSpPr>
        <p:spPr>
          <a:xfrm>
            <a:off x="3816871" y="2880419"/>
            <a:ext cx="3095104" cy="216000"/>
          </a:xfrm>
          <a:prstGeom prst="rect">
            <a:avLst/>
          </a:prstGeom>
        </p:spPr>
        <p:txBody>
          <a:bodyPr lIns="0" tIns="0" rIns="0" bIns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r>
              <a:rPr lang="de-DE" sz="1600" dirty="0"/>
              <a:t>T 	+49 30 300199-</a:t>
            </a:r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br>
              <a:rPr lang="de-DE" sz="1600" dirty="0"/>
            </a:br>
            <a:endParaRPr lang="de-DE" sz="1600" dirty="0"/>
          </a:p>
        </p:txBody>
      </p:sp>
      <p:sp>
        <p:nvSpPr>
          <p:cNvPr id="44" name="Textplatzhalter 27">
            <a:extLst>
              <a:ext uri="{FF2B5EF4-FFF2-40B4-BE49-F238E27FC236}">
                <a16:creationId xmlns:a16="http://schemas.microsoft.com/office/drawing/2014/main" id="{D0F4FE24-E53D-411B-A944-D68B5C9E7F0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7416" y="3096467"/>
            <a:ext cx="3096000" cy="216000"/>
          </a:xfrm>
        </p:spPr>
        <p:txBody>
          <a:bodyPr/>
          <a:lstStyle>
            <a:lvl1pPr marL="0" indent="0">
              <a:buNone/>
              <a:tabLst>
                <a:tab pos="358775" algn="l"/>
                <a:tab pos="1611313" algn="l"/>
                <a:tab pos="2333625" algn="l"/>
              </a:tabLst>
              <a:defRPr sz="1600"/>
            </a:lvl1pPr>
          </a:lstStyle>
          <a:p>
            <a:pPr lvl="0"/>
            <a:r>
              <a:rPr lang="de-DE" dirty="0"/>
              <a:t>Optional Mobilnummer</a:t>
            </a:r>
          </a:p>
        </p:txBody>
      </p:sp>
      <p:sp>
        <p:nvSpPr>
          <p:cNvPr id="45" name="Textplatzhalter 33">
            <a:extLst>
              <a:ext uri="{FF2B5EF4-FFF2-40B4-BE49-F238E27FC236}">
                <a16:creationId xmlns:a16="http://schemas.microsoft.com/office/drawing/2014/main" id="{BB7C219F-54D0-4600-AC8C-3C44A0E1E3F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416" y="3312491"/>
            <a:ext cx="3096000" cy="216000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magdalena.muster@bdew.de</a:t>
            </a:r>
          </a:p>
        </p:txBody>
      </p:sp>
      <p:sp>
        <p:nvSpPr>
          <p:cNvPr id="46" name="Textplatzhalter 25">
            <a:extLst>
              <a:ext uri="{FF2B5EF4-FFF2-40B4-BE49-F238E27FC236}">
                <a16:creationId xmlns:a16="http://schemas.microsoft.com/office/drawing/2014/main" id="{963A6CA7-05F5-49B8-8BF2-2B91925FEAA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71815" y="2880419"/>
            <a:ext cx="1439816" cy="216000"/>
          </a:xfrm>
        </p:spPr>
        <p:txBody>
          <a:bodyPr lIns="0" tIns="0" rIns="0" bIns="0"/>
          <a:lstStyle>
            <a:lvl1pPr marL="0" indent="0">
              <a:buNone/>
              <a:defRPr lang="de-DE" sz="1600" b="0" dirty="0" smtClean="0"/>
            </a:lvl1pPr>
          </a:lstStyle>
          <a:p>
            <a:pPr marL="360000" lvl="0" indent="-360000"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Pct val="100000"/>
            </a:pPr>
            <a:r>
              <a:rPr lang="de-DE" dirty="0"/>
              <a:t>Durchwahl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56B10FB1-6D8F-42BA-B53C-709B1D99F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87439" y="2880419"/>
            <a:ext cx="1439816" cy="216000"/>
          </a:xfrm>
        </p:spPr>
        <p:txBody>
          <a:bodyPr lIns="0" tIns="0" rIns="0" bIns="0"/>
          <a:lstStyle>
            <a:lvl1pPr marL="0" indent="0">
              <a:buNone/>
              <a:defRPr lang="de-DE" sz="1600" b="0" dirty="0" smtClean="0"/>
            </a:lvl1pPr>
          </a:lstStyle>
          <a:p>
            <a:pPr marL="360000" lvl="0" indent="-360000"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Pct val="100000"/>
            </a:pPr>
            <a:r>
              <a:rPr lang="de-DE" dirty="0"/>
              <a:t>Durchwahl</a:t>
            </a:r>
          </a:p>
        </p:txBody>
      </p:sp>
    </p:spTree>
    <p:extLst>
      <p:ext uri="{BB962C8B-B14F-4D97-AF65-F5344CB8AC3E}">
        <p14:creationId xmlns:p14="http://schemas.microsoft.com/office/powerpoint/2010/main" val="32436973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9D276E-5686-493E-B068-DFD91698E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1970CB3-369A-459C-B8F5-D682DCF96C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047E442-FF05-4786-A3D3-663B6F419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CFE638E-559C-40A0-B414-45DFF2BF41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B6B2C9-A658-4A78-900F-9713B72E9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95697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D921C730-CDAF-45FF-8EA4-7A247E800D9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911975" y="863599"/>
            <a:ext cx="1871663" cy="4105052"/>
          </a:xfrm>
          <a:prstGeom prst="rect">
            <a:avLst/>
          </a:prstGeom>
        </p:spPr>
        <p:txBody>
          <a:bodyPr vert="eaVert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C5D6D36-B938-481F-AB85-46AFF5F560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31255" y="863599"/>
            <a:ext cx="6192838" cy="4105051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BC009F4A-D274-4CA1-9AF4-D972910706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69329BF-4531-4866-A67A-9D8642215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8626483-6C39-43BD-82AA-0E18E56B4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9281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0" name="Gruppieren 239">
            <a:extLst>
              <a:ext uri="{FF2B5EF4-FFF2-40B4-BE49-F238E27FC236}">
                <a16:creationId xmlns:a16="http://schemas.microsoft.com/office/drawing/2014/main" id="{635DE3A3-5F75-4957-8585-713416C3BA25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7271990" y="576162"/>
            <a:ext cx="1800225" cy="1224000"/>
            <a:chOff x="7271990" y="576162"/>
            <a:chExt cx="1800225" cy="1224000"/>
          </a:xfrm>
        </p:grpSpPr>
        <p:sp>
          <p:nvSpPr>
            <p:cNvPr id="241" name="Rectangle 6">
              <a:extLst>
                <a:ext uri="{FF2B5EF4-FFF2-40B4-BE49-F238E27FC236}">
                  <a16:creationId xmlns:a16="http://schemas.microsoft.com/office/drawing/2014/main" id="{FC072CB3-74F3-433F-A5FE-3F1AF3C6175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71990" y="576162"/>
              <a:ext cx="1800225" cy="1224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42" name="Gruppieren 241">
              <a:extLst>
                <a:ext uri="{FF2B5EF4-FFF2-40B4-BE49-F238E27FC236}">
                  <a16:creationId xmlns:a16="http://schemas.microsoft.com/office/drawing/2014/main" id="{5FA7764E-1C3B-47DF-8BAD-7DDB70F8FEAE}"/>
                </a:ext>
              </a:extLst>
            </p:cNvPr>
            <p:cNvGrpSpPr>
              <a:grpSpLocks noChangeAspect="1"/>
            </p:cNvGrpSpPr>
            <p:nvPr userDrawn="1"/>
          </p:nvGrpSpPr>
          <p:grpSpPr bwMode="gray">
            <a:xfrm>
              <a:off x="7538786" y="868025"/>
              <a:ext cx="1244600" cy="646113"/>
              <a:chOff x="7538786" y="868025"/>
              <a:chExt cx="1244600" cy="646113"/>
            </a:xfrm>
          </p:grpSpPr>
          <p:sp>
            <p:nvSpPr>
              <p:cNvPr id="243" name="Freeform 38">
                <a:extLst>
                  <a:ext uri="{FF2B5EF4-FFF2-40B4-BE49-F238E27FC236}">
                    <a16:creationId xmlns:a16="http://schemas.microsoft.com/office/drawing/2014/main" id="{A8E670C4-5CE3-4C4C-A26F-FED2E9185BB3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7538786" y="1398250"/>
                <a:ext cx="1244600" cy="115888"/>
              </a:xfrm>
              <a:custGeom>
                <a:avLst/>
                <a:gdLst>
                  <a:gd name="T0" fmla="*/ 1559 w 1559"/>
                  <a:gd name="T1" fmla="*/ 104 h 146"/>
                  <a:gd name="T2" fmla="*/ 1471 w 1559"/>
                  <a:gd name="T3" fmla="*/ 48 h 146"/>
                  <a:gd name="T4" fmla="*/ 1472 w 1559"/>
                  <a:gd name="T5" fmla="*/ 114 h 146"/>
                  <a:gd name="T6" fmla="*/ 1518 w 1559"/>
                  <a:gd name="T7" fmla="*/ 114 h 146"/>
                  <a:gd name="T8" fmla="*/ 1433 w 1559"/>
                  <a:gd name="T9" fmla="*/ 74 h 146"/>
                  <a:gd name="T10" fmla="*/ 1431 w 1559"/>
                  <a:gd name="T11" fmla="*/ 92 h 146"/>
                  <a:gd name="T12" fmla="*/ 1332 w 1559"/>
                  <a:gd name="T13" fmla="*/ 75 h 146"/>
                  <a:gd name="T14" fmla="*/ 1332 w 1559"/>
                  <a:gd name="T15" fmla="*/ 75 h 146"/>
                  <a:gd name="T16" fmla="*/ 1304 w 1559"/>
                  <a:gd name="T17" fmla="*/ 2 h 146"/>
                  <a:gd name="T18" fmla="*/ 1303 w 1559"/>
                  <a:gd name="T19" fmla="*/ 108 h 146"/>
                  <a:gd name="T20" fmla="*/ 1232 w 1559"/>
                  <a:gd name="T21" fmla="*/ 51 h 146"/>
                  <a:gd name="T22" fmla="*/ 1231 w 1559"/>
                  <a:gd name="T23" fmla="*/ 115 h 146"/>
                  <a:gd name="T24" fmla="*/ 1265 w 1559"/>
                  <a:gd name="T25" fmla="*/ 80 h 146"/>
                  <a:gd name="T26" fmla="*/ 1145 w 1559"/>
                  <a:gd name="T27" fmla="*/ 11 h 146"/>
                  <a:gd name="T28" fmla="*/ 1061 w 1559"/>
                  <a:gd name="T29" fmla="*/ 92 h 146"/>
                  <a:gd name="T30" fmla="*/ 1044 w 1559"/>
                  <a:gd name="T31" fmla="*/ 37 h 146"/>
                  <a:gd name="T32" fmla="*/ 1008 w 1559"/>
                  <a:gd name="T33" fmla="*/ 56 h 146"/>
                  <a:gd name="T34" fmla="*/ 1051 w 1559"/>
                  <a:gd name="T35" fmla="*/ 54 h 146"/>
                  <a:gd name="T36" fmla="*/ 970 w 1559"/>
                  <a:gd name="T37" fmla="*/ 68 h 146"/>
                  <a:gd name="T38" fmla="*/ 989 w 1559"/>
                  <a:gd name="T39" fmla="*/ 108 h 146"/>
                  <a:gd name="T40" fmla="*/ 990 w 1559"/>
                  <a:gd name="T41" fmla="*/ 74 h 146"/>
                  <a:gd name="T42" fmla="*/ 906 w 1559"/>
                  <a:gd name="T43" fmla="*/ 57 h 146"/>
                  <a:gd name="T44" fmla="*/ 892 w 1559"/>
                  <a:gd name="T45" fmla="*/ 92 h 146"/>
                  <a:gd name="T46" fmla="*/ 911 w 1559"/>
                  <a:gd name="T47" fmla="*/ 91 h 146"/>
                  <a:gd name="T48" fmla="*/ 837 w 1559"/>
                  <a:gd name="T49" fmla="*/ 57 h 146"/>
                  <a:gd name="T50" fmla="*/ 823 w 1559"/>
                  <a:gd name="T51" fmla="*/ 92 h 146"/>
                  <a:gd name="T52" fmla="*/ 843 w 1559"/>
                  <a:gd name="T53" fmla="*/ 91 h 146"/>
                  <a:gd name="T54" fmla="*/ 749 w 1559"/>
                  <a:gd name="T55" fmla="*/ 80 h 146"/>
                  <a:gd name="T56" fmla="*/ 765 w 1559"/>
                  <a:gd name="T57" fmla="*/ 43 h 146"/>
                  <a:gd name="T58" fmla="*/ 749 w 1559"/>
                  <a:gd name="T59" fmla="*/ 61 h 146"/>
                  <a:gd name="T60" fmla="*/ 751 w 1559"/>
                  <a:gd name="T61" fmla="*/ 107 h 146"/>
                  <a:gd name="T62" fmla="*/ 667 w 1559"/>
                  <a:gd name="T63" fmla="*/ 61 h 146"/>
                  <a:gd name="T64" fmla="*/ 613 w 1559"/>
                  <a:gd name="T65" fmla="*/ 61 h 146"/>
                  <a:gd name="T66" fmla="*/ 597 w 1559"/>
                  <a:gd name="T67" fmla="*/ 114 h 146"/>
                  <a:gd name="T68" fmla="*/ 650 w 1559"/>
                  <a:gd name="T69" fmla="*/ 114 h 146"/>
                  <a:gd name="T70" fmla="*/ 512 w 1559"/>
                  <a:gd name="T71" fmla="*/ 104 h 146"/>
                  <a:gd name="T72" fmla="*/ 464 w 1559"/>
                  <a:gd name="T73" fmla="*/ 51 h 146"/>
                  <a:gd name="T74" fmla="*/ 462 w 1559"/>
                  <a:gd name="T75" fmla="*/ 115 h 146"/>
                  <a:gd name="T76" fmla="*/ 496 w 1559"/>
                  <a:gd name="T77" fmla="*/ 80 h 146"/>
                  <a:gd name="T78" fmla="*/ 393 w 1559"/>
                  <a:gd name="T79" fmla="*/ 38 h 146"/>
                  <a:gd name="T80" fmla="*/ 391 w 1559"/>
                  <a:gd name="T81" fmla="*/ 12 h 146"/>
                  <a:gd name="T82" fmla="*/ 326 w 1559"/>
                  <a:gd name="T83" fmla="*/ 75 h 146"/>
                  <a:gd name="T84" fmla="*/ 355 w 1559"/>
                  <a:gd name="T85" fmla="*/ 38 h 146"/>
                  <a:gd name="T86" fmla="*/ 353 w 1559"/>
                  <a:gd name="T87" fmla="*/ 103 h 146"/>
                  <a:gd name="T88" fmla="*/ 310 w 1559"/>
                  <a:gd name="T89" fmla="*/ 122 h 146"/>
                  <a:gd name="T90" fmla="*/ 373 w 1559"/>
                  <a:gd name="T91" fmla="*/ 56 h 146"/>
                  <a:gd name="T92" fmla="*/ 269 w 1559"/>
                  <a:gd name="T93" fmla="*/ 47 h 146"/>
                  <a:gd name="T94" fmla="*/ 270 w 1559"/>
                  <a:gd name="T95" fmla="*/ 114 h 146"/>
                  <a:gd name="T96" fmla="*/ 211 w 1559"/>
                  <a:gd name="T97" fmla="*/ 68 h 146"/>
                  <a:gd name="T98" fmla="*/ 198 w 1559"/>
                  <a:gd name="T99" fmla="*/ 36 h 146"/>
                  <a:gd name="T100" fmla="*/ 200 w 1559"/>
                  <a:gd name="T101" fmla="*/ 100 h 146"/>
                  <a:gd name="T102" fmla="*/ 148 w 1559"/>
                  <a:gd name="T103" fmla="*/ 62 h 146"/>
                  <a:gd name="T104" fmla="*/ 81 w 1559"/>
                  <a:gd name="T105" fmla="*/ 38 h 146"/>
                  <a:gd name="T106" fmla="*/ 119 w 1559"/>
                  <a:gd name="T107" fmla="*/ 54 h 146"/>
                  <a:gd name="T108" fmla="*/ 66 w 1559"/>
                  <a:gd name="T109" fmla="*/ 96 h 146"/>
                  <a:gd name="T110" fmla="*/ 21 w 1559"/>
                  <a:gd name="T111" fmla="*/ 52 h 146"/>
                  <a:gd name="T112" fmla="*/ 0 w 1559"/>
                  <a:gd name="T113" fmla="*/ 11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59" h="146">
                    <a:moveTo>
                      <a:pt x="1559" y="104"/>
                    </a:moveTo>
                    <a:cubicBezTo>
                      <a:pt x="1559" y="98"/>
                      <a:pt x="1556" y="92"/>
                      <a:pt x="1547" y="92"/>
                    </a:cubicBezTo>
                    <a:cubicBezTo>
                      <a:pt x="1539" y="92"/>
                      <a:pt x="1535" y="98"/>
                      <a:pt x="1535" y="104"/>
                    </a:cubicBezTo>
                    <a:cubicBezTo>
                      <a:pt x="1535" y="110"/>
                      <a:pt x="1539" y="116"/>
                      <a:pt x="1547" y="116"/>
                    </a:cubicBezTo>
                    <a:cubicBezTo>
                      <a:pt x="1556" y="116"/>
                      <a:pt x="1559" y="110"/>
                      <a:pt x="1559" y="104"/>
                    </a:cubicBezTo>
                    <a:close/>
                    <a:moveTo>
                      <a:pt x="1518" y="114"/>
                    </a:moveTo>
                    <a:lnTo>
                      <a:pt x="1518" y="62"/>
                    </a:lnTo>
                    <a:cubicBezTo>
                      <a:pt x="1518" y="55"/>
                      <a:pt x="1517" y="49"/>
                      <a:pt x="1514" y="45"/>
                    </a:cubicBezTo>
                    <a:cubicBezTo>
                      <a:pt x="1510" y="39"/>
                      <a:pt x="1504" y="36"/>
                      <a:pt x="1495" y="36"/>
                    </a:cubicBezTo>
                    <a:cubicBezTo>
                      <a:pt x="1485" y="36"/>
                      <a:pt x="1474" y="45"/>
                      <a:pt x="1471" y="48"/>
                    </a:cubicBezTo>
                    <a:cubicBezTo>
                      <a:pt x="1471" y="43"/>
                      <a:pt x="1470" y="38"/>
                      <a:pt x="1470" y="38"/>
                    </a:cubicBezTo>
                    <a:lnTo>
                      <a:pt x="1450" y="38"/>
                    </a:lnTo>
                    <a:cubicBezTo>
                      <a:pt x="1450" y="38"/>
                      <a:pt x="1451" y="47"/>
                      <a:pt x="1451" y="56"/>
                    </a:cubicBezTo>
                    <a:lnTo>
                      <a:pt x="1451" y="114"/>
                    </a:lnTo>
                    <a:lnTo>
                      <a:pt x="1472" y="114"/>
                    </a:lnTo>
                    <a:lnTo>
                      <a:pt x="1472" y="62"/>
                    </a:lnTo>
                    <a:cubicBezTo>
                      <a:pt x="1475" y="59"/>
                      <a:pt x="1482" y="54"/>
                      <a:pt x="1488" y="54"/>
                    </a:cubicBezTo>
                    <a:cubicBezTo>
                      <a:pt x="1493" y="54"/>
                      <a:pt x="1497" y="55"/>
                      <a:pt x="1497" y="64"/>
                    </a:cubicBezTo>
                    <a:lnTo>
                      <a:pt x="1497" y="114"/>
                    </a:lnTo>
                    <a:lnTo>
                      <a:pt x="1518" y="114"/>
                    </a:lnTo>
                    <a:close/>
                    <a:moveTo>
                      <a:pt x="1413" y="68"/>
                    </a:moveTo>
                    <a:lnTo>
                      <a:pt x="1389" y="68"/>
                    </a:lnTo>
                    <a:cubicBezTo>
                      <a:pt x="1389" y="62"/>
                      <a:pt x="1391" y="51"/>
                      <a:pt x="1400" y="51"/>
                    </a:cubicBezTo>
                    <a:cubicBezTo>
                      <a:pt x="1411" y="51"/>
                      <a:pt x="1413" y="62"/>
                      <a:pt x="1413" y="68"/>
                    </a:cubicBezTo>
                    <a:close/>
                    <a:moveTo>
                      <a:pt x="1433" y="74"/>
                    </a:moveTo>
                    <a:cubicBezTo>
                      <a:pt x="1433" y="56"/>
                      <a:pt x="1426" y="36"/>
                      <a:pt x="1400" y="36"/>
                    </a:cubicBezTo>
                    <a:cubicBezTo>
                      <a:pt x="1378" y="36"/>
                      <a:pt x="1367" y="56"/>
                      <a:pt x="1367" y="76"/>
                    </a:cubicBezTo>
                    <a:cubicBezTo>
                      <a:pt x="1367" y="90"/>
                      <a:pt x="1372" y="115"/>
                      <a:pt x="1399" y="115"/>
                    </a:cubicBezTo>
                    <a:cubicBezTo>
                      <a:pt x="1420" y="115"/>
                      <a:pt x="1432" y="108"/>
                      <a:pt x="1432" y="108"/>
                    </a:cubicBezTo>
                    <a:lnTo>
                      <a:pt x="1431" y="92"/>
                    </a:lnTo>
                    <a:cubicBezTo>
                      <a:pt x="1431" y="92"/>
                      <a:pt x="1416" y="100"/>
                      <a:pt x="1402" y="100"/>
                    </a:cubicBezTo>
                    <a:cubicBezTo>
                      <a:pt x="1393" y="100"/>
                      <a:pt x="1389" y="94"/>
                      <a:pt x="1389" y="80"/>
                    </a:cubicBezTo>
                    <a:lnTo>
                      <a:pt x="1433" y="80"/>
                    </a:lnTo>
                    <a:cubicBezTo>
                      <a:pt x="1433" y="80"/>
                      <a:pt x="1433" y="76"/>
                      <a:pt x="1433" y="74"/>
                    </a:cubicBezTo>
                    <a:moveTo>
                      <a:pt x="1332" y="75"/>
                    </a:moveTo>
                    <a:cubicBezTo>
                      <a:pt x="1332" y="93"/>
                      <a:pt x="1326" y="99"/>
                      <a:pt x="1319" y="99"/>
                    </a:cubicBezTo>
                    <a:cubicBezTo>
                      <a:pt x="1316" y="99"/>
                      <a:pt x="1310" y="97"/>
                      <a:pt x="1304" y="94"/>
                    </a:cubicBezTo>
                    <a:lnTo>
                      <a:pt x="1304" y="59"/>
                    </a:lnTo>
                    <a:cubicBezTo>
                      <a:pt x="1310" y="54"/>
                      <a:pt x="1316" y="53"/>
                      <a:pt x="1320" y="53"/>
                    </a:cubicBezTo>
                    <a:cubicBezTo>
                      <a:pt x="1330" y="53"/>
                      <a:pt x="1332" y="67"/>
                      <a:pt x="1332" y="75"/>
                    </a:cubicBezTo>
                    <a:close/>
                    <a:moveTo>
                      <a:pt x="1353" y="76"/>
                    </a:moveTo>
                    <a:cubicBezTo>
                      <a:pt x="1353" y="60"/>
                      <a:pt x="1349" y="36"/>
                      <a:pt x="1324" y="36"/>
                    </a:cubicBezTo>
                    <a:cubicBezTo>
                      <a:pt x="1315" y="36"/>
                      <a:pt x="1306" y="43"/>
                      <a:pt x="1304" y="44"/>
                    </a:cubicBezTo>
                    <a:cubicBezTo>
                      <a:pt x="1304" y="44"/>
                      <a:pt x="1304" y="39"/>
                      <a:pt x="1304" y="36"/>
                    </a:cubicBezTo>
                    <a:lnTo>
                      <a:pt x="1304" y="2"/>
                    </a:lnTo>
                    <a:lnTo>
                      <a:pt x="1284" y="4"/>
                    </a:lnTo>
                    <a:lnTo>
                      <a:pt x="1284" y="98"/>
                    </a:lnTo>
                    <a:cubicBezTo>
                      <a:pt x="1284" y="105"/>
                      <a:pt x="1283" y="114"/>
                      <a:pt x="1283" y="114"/>
                    </a:cubicBezTo>
                    <a:lnTo>
                      <a:pt x="1302" y="114"/>
                    </a:lnTo>
                    <a:cubicBezTo>
                      <a:pt x="1303" y="112"/>
                      <a:pt x="1303" y="109"/>
                      <a:pt x="1303" y="108"/>
                    </a:cubicBezTo>
                    <a:cubicBezTo>
                      <a:pt x="1304" y="109"/>
                      <a:pt x="1313" y="115"/>
                      <a:pt x="1324" y="115"/>
                    </a:cubicBezTo>
                    <a:cubicBezTo>
                      <a:pt x="1342" y="115"/>
                      <a:pt x="1353" y="98"/>
                      <a:pt x="1353" y="76"/>
                    </a:cubicBezTo>
                    <a:moveTo>
                      <a:pt x="1245" y="68"/>
                    </a:moveTo>
                    <a:lnTo>
                      <a:pt x="1221" y="68"/>
                    </a:lnTo>
                    <a:cubicBezTo>
                      <a:pt x="1221" y="62"/>
                      <a:pt x="1223" y="51"/>
                      <a:pt x="1232" y="51"/>
                    </a:cubicBezTo>
                    <a:cubicBezTo>
                      <a:pt x="1243" y="51"/>
                      <a:pt x="1245" y="62"/>
                      <a:pt x="1245" y="68"/>
                    </a:cubicBezTo>
                    <a:close/>
                    <a:moveTo>
                      <a:pt x="1265" y="74"/>
                    </a:moveTo>
                    <a:cubicBezTo>
                      <a:pt x="1265" y="56"/>
                      <a:pt x="1258" y="36"/>
                      <a:pt x="1232" y="36"/>
                    </a:cubicBezTo>
                    <a:cubicBezTo>
                      <a:pt x="1210" y="36"/>
                      <a:pt x="1199" y="56"/>
                      <a:pt x="1199" y="76"/>
                    </a:cubicBezTo>
                    <a:cubicBezTo>
                      <a:pt x="1199" y="90"/>
                      <a:pt x="1204" y="115"/>
                      <a:pt x="1231" y="115"/>
                    </a:cubicBezTo>
                    <a:cubicBezTo>
                      <a:pt x="1251" y="115"/>
                      <a:pt x="1264" y="108"/>
                      <a:pt x="1264" y="108"/>
                    </a:cubicBezTo>
                    <a:lnTo>
                      <a:pt x="1263" y="92"/>
                    </a:lnTo>
                    <a:cubicBezTo>
                      <a:pt x="1263" y="92"/>
                      <a:pt x="1248" y="100"/>
                      <a:pt x="1234" y="100"/>
                    </a:cubicBezTo>
                    <a:cubicBezTo>
                      <a:pt x="1225" y="100"/>
                      <a:pt x="1221" y="94"/>
                      <a:pt x="1221" y="80"/>
                    </a:cubicBezTo>
                    <a:lnTo>
                      <a:pt x="1265" y="80"/>
                    </a:lnTo>
                    <a:cubicBezTo>
                      <a:pt x="1265" y="80"/>
                      <a:pt x="1265" y="76"/>
                      <a:pt x="1265" y="74"/>
                    </a:cubicBezTo>
                    <a:moveTo>
                      <a:pt x="1188" y="114"/>
                    </a:moveTo>
                    <a:lnTo>
                      <a:pt x="1188" y="95"/>
                    </a:lnTo>
                    <a:lnTo>
                      <a:pt x="1145" y="95"/>
                    </a:lnTo>
                    <a:lnTo>
                      <a:pt x="1145" y="11"/>
                    </a:lnTo>
                    <a:lnTo>
                      <a:pt x="1124" y="11"/>
                    </a:lnTo>
                    <a:lnTo>
                      <a:pt x="1124" y="114"/>
                    </a:lnTo>
                    <a:lnTo>
                      <a:pt x="1188" y="114"/>
                    </a:lnTo>
                    <a:close/>
                    <a:moveTo>
                      <a:pt x="1073" y="104"/>
                    </a:moveTo>
                    <a:cubicBezTo>
                      <a:pt x="1073" y="98"/>
                      <a:pt x="1069" y="92"/>
                      <a:pt x="1061" y="92"/>
                    </a:cubicBezTo>
                    <a:cubicBezTo>
                      <a:pt x="1053" y="92"/>
                      <a:pt x="1048" y="98"/>
                      <a:pt x="1048" y="104"/>
                    </a:cubicBezTo>
                    <a:cubicBezTo>
                      <a:pt x="1048" y="110"/>
                      <a:pt x="1053" y="116"/>
                      <a:pt x="1061" y="116"/>
                    </a:cubicBezTo>
                    <a:cubicBezTo>
                      <a:pt x="1069" y="116"/>
                      <a:pt x="1073" y="110"/>
                      <a:pt x="1073" y="104"/>
                    </a:cubicBezTo>
                    <a:close/>
                    <a:moveTo>
                      <a:pt x="1053" y="38"/>
                    </a:moveTo>
                    <a:cubicBezTo>
                      <a:pt x="1053" y="38"/>
                      <a:pt x="1052" y="37"/>
                      <a:pt x="1044" y="37"/>
                    </a:cubicBezTo>
                    <a:cubicBezTo>
                      <a:pt x="1038" y="37"/>
                      <a:pt x="1032" y="42"/>
                      <a:pt x="1029" y="45"/>
                    </a:cubicBezTo>
                    <a:cubicBezTo>
                      <a:pt x="1029" y="46"/>
                      <a:pt x="1028" y="47"/>
                      <a:pt x="1028" y="47"/>
                    </a:cubicBezTo>
                    <a:cubicBezTo>
                      <a:pt x="1028" y="43"/>
                      <a:pt x="1027" y="38"/>
                      <a:pt x="1027" y="38"/>
                    </a:cubicBezTo>
                    <a:lnTo>
                      <a:pt x="1007" y="38"/>
                    </a:lnTo>
                    <a:cubicBezTo>
                      <a:pt x="1007" y="38"/>
                      <a:pt x="1008" y="47"/>
                      <a:pt x="1008" y="56"/>
                    </a:cubicBezTo>
                    <a:lnTo>
                      <a:pt x="1008" y="114"/>
                    </a:lnTo>
                    <a:lnTo>
                      <a:pt x="1029" y="114"/>
                    </a:lnTo>
                    <a:lnTo>
                      <a:pt x="1029" y="60"/>
                    </a:lnTo>
                    <a:cubicBezTo>
                      <a:pt x="1034" y="56"/>
                      <a:pt x="1039" y="53"/>
                      <a:pt x="1041" y="53"/>
                    </a:cubicBezTo>
                    <a:cubicBezTo>
                      <a:pt x="1047" y="53"/>
                      <a:pt x="1051" y="54"/>
                      <a:pt x="1051" y="54"/>
                    </a:cubicBezTo>
                    <a:lnTo>
                      <a:pt x="1053" y="38"/>
                    </a:lnTo>
                    <a:close/>
                    <a:moveTo>
                      <a:pt x="970" y="68"/>
                    </a:moveTo>
                    <a:lnTo>
                      <a:pt x="946" y="68"/>
                    </a:lnTo>
                    <a:cubicBezTo>
                      <a:pt x="946" y="62"/>
                      <a:pt x="948" y="51"/>
                      <a:pt x="958" y="51"/>
                    </a:cubicBezTo>
                    <a:cubicBezTo>
                      <a:pt x="968" y="51"/>
                      <a:pt x="970" y="62"/>
                      <a:pt x="970" y="68"/>
                    </a:cubicBezTo>
                    <a:close/>
                    <a:moveTo>
                      <a:pt x="990" y="74"/>
                    </a:moveTo>
                    <a:cubicBezTo>
                      <a:pt x="990" y="56"/>
                      <a:pt x="983" y="36"/>
                      <a:pt x="958" y="36"/>
                    </a:cubicBezTo>
                    <a:cubicBezTo>
                      <a:pt x="935" y="36"/>
                      <a:pt x="925" y="56"/>
                      <a:pt x="925" y="76"/>
                    </a:cubicBezTo>
                    <a:cubicBezTo>
                      <a:pt x="925" y="90"/>
                      <a:pt x="929" y="115"/>
                      <a:pt x="956" y="115"/>
                    </a:cubicBezTo>
                    <a:cubicBezTo>
                      <a:pt x="977" y="115"/>
                      <a:pt x="989" y="108"/>
                      <a:pt x="989" y="108"/>
                    </a:cubicBezTo>
                    <a:lnTo>
                      <a:pt x="988" y="92"/>
                    </a:lnTo>
                    <a:cubicBezTo>
                      <a:pt x="988" y="92"/>
                      <a:pt x="974" y="100"/>
                      <a:pt x="960" y="100"/>
                    </a:cubicBezTo>
                    <a:cubicBezTo>
                      <a:pt x="951" y="100"/>
                      <a:pt x="946" y="94"/>
                      <a:pt x="946" y="80"/>
                    </a:cubicBezTo>
                    <a:lnTo>
                      <a:pt x="990" y="80"/>
                    </a:lnTo>
                    <a:cubicBezTo>
                      <a:pt x="990" y="80"/>
                      <a:pt x="990" y="76"/>
                      <a:pt x="990" y="74"/>
                    </a:cubicBezTo>
                    <a:moveTo>
                      <a:pt x="911" y="91"/>
                    </a:moveTo>
                    <a:cubicBezTo>
                      <a:pt x="911" y="73"/>
                      <a:pt x="894" y="70"/>
                      <a:pt x="882" y="64"/>
                    </a:cubicBezTo>
                    <a:cubicBezTo>
                      <a:pt x="879" y="63"/>
                      <a:pt x="876" y="61"/>
                      <a:pt x="876" y="58"/>
                    </a:cubicBezTo>
                    <a:cubicBezTo>
                      <a:pt x="876" y="56"/>
                      <a:pt x="878" y="52"/>
                      <a:pt x="884" y="52"/>
                    </a:cubicBezTo>
                    <a:cubicBezTo>
                      <a:pt x="894" y="52"/>
                      <a:pt x="906" y="57"/>
                      <a:pt x="906" y="57"/>
                    </a:cubicBezTo>
                    <a:lnTo>
                      <a:pt x="907" y="40"/>
                    </a:lnTo>
                    <a:cubicBezTo>
                      <a:pt x="907" y="40"/>
                      <a:pt x="897" y="36"/>
                      <a:pt x="885" y="36"/>
                    </a:cubicBezTo>
                    <a:cubicBezTo>
                      <a:pt x="870" y="36"/>
                      <a:pt x="857" y="44"/>
                      <a:pt x="857" y="60"/>
                    </a:cubicBezTo>
                    <a:cubicBezTo>
                      <a:pt x="857" y="77"/>
                      <a:pt x="874" y="80"/>
                      <a:pt x="885" y="85"/>
                    </a:cubicBezTo>
                    <a:cubicBezTo>
                      <a:pt x="889" y="87"/>
                      <a:pt x="892" y="89"/>
                      <a:pt x="892" y="92"/>
                    </a:cubicBezTo>
                    <a:cubicBezTo>
                      <a:pt x="892" y="96"/>
                      <a:pt x="888" y="99"/>
                      <a:pt x="883" y="99"/>
                    </a:cubicBezTo>
                    <a:cubicBezTo>
                      <a:pt x="872" y="99"/>
                      <a:pt x="857" y="91"/>
                      <a:pt x="857" y="91"/>
                    </a:cubicBezTo>
                    <a:lnTo>
                      <a:pt x="856" y="110"/>
                    </a:lnTo>
                    <a:cubicBezTo>
                      <a:pt x="856" y="110"/>
                      <a:pt x="869" y="116"/>
                      <a:pt x="883" y="116"/>
                    </a:cubicBezTo>
                    <a:cubicBezTo>
                      <a:pt x="898" y="116"/>
                      <a:pt x="911" y="108"/>
                      <a:pt x="911" y="91"/>
                    </a:cubicBezTo>
                    <a:close/>
                    <a:moveTo>
                      <a:pt x="843" y="91"/>
                    </a:moveTo>
                    <a:cubicBezTo>
                      <a:pt x="843" y="73"/>
                      <a:pt x="826" y="70"/>
                      <a:pt x="813" y="64"/>
                    </a:cubicBezTo>
                    <a:cubicBezTo>
                      <a:pt x="810" y="63"/>
                      <a:pt x="807" y="61"/>
                      <a:pt x="807" y="58"/>
                    </a:cubicBezTo>
                    <a:cubicBezTo>
                      <a:pt x="807" y="56"/>
                      <a:pt x="809" y="52"/>
                      <a:pt x="815" y="52"/>
                    </a:cubicBezTo>
                    <a:cubicBezTo>
                      <a:pt x="825" y="52"/>
                      <a:pt x="837" y="57"/>
                      <a:pt x="837" y="57"/>
                    </a:cubicBezTo>
                    <a:lnTo>
                      <a:pt x="838" y="40"/>
                    </a:lnTo>
                    <a:cubicBezTo>
                      <a:pt x="838" y="40"/>
                      <a:pt x="828" y="36"/>
                      <a:pt x="816" y="36"/>
                    </a:cubicBezTo>
                    <a:cubicBezTo>
                      <a:pt x="801" y="36"/>
                      <a:pt x="788" y="44"/>
                      <a:pt x="788" y="60"/>
                    </a:cubicBezTo>
                    <a:cubicBezTo>
                      <a:pt x="788" y="77"/>
                      <a:pt x="805" y="80"/>
                      <a:pt x="817" y="85"/>
                    </a:cubicBezTo>
                    <a:cubicBezTo>
                      <a:pt x="820" y="87"/>
                      <a:pt x="823" y="89"/>
                      <a:pt x="823" y="92"/>
                    </a:cubicBezTo>
                    <a:cubicBezTo>
                      <a:pt x="823" y="96"/>
                      <a:pt x="819" y="99"/>
                      <a:pt x="815" y="99"/>
                    </a:cubicBezTo>
                    <a:cubicBezTo>
                      <a:pt x="803" y="99"/>
                      <a:pt x="788" y="91"/>
                      <a:pt x="788" y="91"/>
                    </a:cubicBezTo>
                    <a:lnTo>
                      <a:pt x="787" y="110"/>
                    </a:lnTo>
                    <a:cubicBezTo>
                      <a:pt x="787" y="110"/>
                      <a:pt x="800" y="116"/>
                      <a:pt x="814" y="116"/>
                    </a:cubicBezTo>
                    <a:cubicBezTo>
                      <a:pt x="829" y="116"/>
                      <a:pt x="843" y="108"/>
                      <a:pt x="843" y="91"/>
                    </a:cubicBezTo>
                    <a:close/>
                    <a:moveTo>
                      <a:pt x="749" y="94"/>
                    </a:moveTo>
                    <a:cubicBezTo>
                      <a:pt x="747" y="96"/>
                      <a:pt x="742" y="100"/>
                      <a:pt x="736" y="100"/>
                    </a:cubicBezTo>
                    <a:cubicBezTo>
                      <a:pt x="731" y="100"/>
                      <a:pt x="729" y="95"/>
                      <a:pt x="729" y="91"/>
                    </a:cubicBezTo>
                    <a:cubicBezTo>
                      <a:pt x="729" y="89"/>
                      <a:pt x="730" y="87"/>
                      <a:pt x="732" y="85"/>
                    </a:cubicBezTo>
                    <a:cubicBezTo>
                      <a:pt x="736" y="81"/>
                      <a:pt x="746" y="80"/>
                      <a:pt x="749" y="80"/>
                    </a:cubicBezTo>
                    <a:lnTo>
                      <a:pt x="749" y="94"/>
                    </a:lnTo>
                    <a:close/>
                    <a:moveTo>
                      <a:pt x="771" y="114"/>
                    </a:moveTo>
                    <a:cubicBezTo>
                      <a:pt x="771" y="114"/>
                      <a:pt x="770" y="107"/>
                      <a:pt x="770" y="98"/>
                    </a:cubicBezTo>
                    <a:lnTo>
                      <a:pt x="770" y="62"/>
                    </a:lnTo>
                    <a:cubicBezTo>
                      <a:pt x="770" y="54"/>
                      <a:pt x="769" y="48"/>
                      <a:pt x="765" y="43"/>
                    </a:cubicBezTo>
                    <a:cubicBezTo>
                      <a:pt x="761" y="39"/>
                      <a:pt x="755" y="36"/>
                      <a:pt x="745" y="36"/>
                    </a:cubicBezTo>
                    <a:cubicBezTo>
                      <a:pt x="729" y="36"/>
                      <a:pt x="714" y="43"/>
                      <a:pt x="714" y="43"/>
                    </a:cubicBezTo>
                    <a:lnTo>
                      <a:pt x="715" y="59"/>
                    </a:lnTo>
                    <a:cubicBezTo>
                      <a:pt x="720" y="56"/>
                      <a:pt x="731" y="52"/>
                      <a:pt x="741" y="52"/>
                    </a:cubicBezTo>
                    <a:cubicBezTo>
                      <a:pt x="747" y="52"/>
                      <a:pt x="749" y="55"/>
                      <a:pt x="749" y="61"/>
                    </a:cubicBezTo>
                    <a:lnTo>
                      <a:pt x="749" y="69"/>
                    </a:lnTo>
                    <a:cubicBezTo>
                      <a:pt x="740" y="69"/>
                      <a:pt x="725" y="70"/>
                      <a:pt x="716" y="77"/>
                    </a:cubicBezTo>
                    <a:cubicBezTo>
                      <a:pt x="711" y="81"/>
                      <a:pt x="709" y="85"/>
                      <a:pt x="709" y="92"/>
                    </a:cubicBezTo>
                    <a:cubicBezTo>
                      <a:pt x="709" y="102"/>
                      <a:pt x="714" y="115"/>
                      <a:pt x="730" y="115"/>
                    </a:cubicBezTo>
                    <a:cubicBezTo>
                      <a:pt x="741" y="115"/>
                      <a:pt x="751" y="107"/>
                      <a:pt x="751" y="107"/>
                    </a:cubicBezTo>
                    <a:cubicBezTo>
                      <a:pt x="751" y="110"/>
                      <a:pt x="751" y="114"/>
                      <a:pt x="751" y="114"/>
                    </a:cubicBezTo>
                    <a:lnTo>
                      <a:pt x="771" y="114"/>
                    </a:lnTo>
                    <a:close/>
                    <a:moveTo>
                      <a:pt x="701" y="12"/>
                    </a:moveTo>
                    <a:lnTo>
                      <a:pt x="679" y="11"/>
                    </a:lnTo>
                    <a:lnTo>
                      <a:pt x="667" y="61"/>
                    </a:lnTo>
                    <a:cubicBezTo>
                      <a:pt x="665" y="68"/>
                      <a:pt x="663" y="83"/>
                      <a:pt x="662" y="86"/>
                    </a:cubicBezTo>
                    <a:cubicBezTo>
                      <a:pt x="662" y="83"/>
                      <a:pt x="659" y="68"/>
                      <a:pt x="658" y="61"/>
                    </a:cubicBezTo>
                    <a:lnTo>
                      <a:pt x="646" y="11"/>
                    </a:lnTo>
                    <a:lnTo>
                      <a:pt x="624" y="11"/>
                    </a:lnTo>
                    <a:lnTo>
                      <a:pt x="613" y="61"/>
                    </a:lnTo>
                    <a:cubicBezTo>
                      <a:pt x="611" y="68"/>
                      <a:pt x="609" y="82"/>
                      <a:pt x="608" y="85"/>
                    </a:cubicBezTo>
                    <a:cubicBezTo>
                      <a:pt x="608" y="82"/>
                      <a:pt x="605" y="68"/>
                      <a:pt x="604" y="61"/>
                    </a:cubicBezTo>
                    <a:lnTo>
                      <a:pt x="592" y="10"/>
                    </a:lnTo>
                    <a:lnTo>
                      <a:pt x="570" y="11"/>
                    </a:lnTo>
                    <a:lnTo>
                      <a:pt x="597" y="114"/>
                    </a:lnTo>
                    <a:lnTo>
                      <a:pt x="619" y="114"/>
                    </a:lnTo>
                    <a:lnTo>
                      <a:pt x="630" y="67"/>
                    </a:lnTo>
                    <a:cubicBezTo>
                      <a:pt x="631" y="59"/>
                      <a:pt x="635" y="40"/>
                      <a:pt x="635" y="40"/>
                    </a:cubicBezTo>
                    <a:cubicBezTo>
                      <a:pt x="635" y="40"/>
                      <a:pt x="638" y="59"/>
                      <a:pt x="640" y="67"/>
                    </a:cubicBezTo>
                    <a:lnTo>
                      <a:pt x="650" y="114"/>
                    </a:lnTo>
                    <a:lnTo>
                      <a:pt x="673" y="114"/>
                    </a:lnTo>
                    <a:lnTo>
                      <a:pt x="701" y="12"/>
                    </a:lnTo>
                    <a:close/>
                    <a:moveTo>
                      <a:pt x="537" y="104"/>
                    </a:moveTo>
                    <a:cubicBezTo>
                      <a:pt x="537" y="98"/>
                      <a:pt x="533" y="92"/>
                      <a:pt x="525" y="92"/>
                    </a:cubicBezTo>
                    <a:cubicBezTo>
                      <a:pt x="516" y="92"/>
                      <a:pt x="512" y="98"/>
                      <a:pt x="512" y="104"/>
                    </a:cubicBezTo>
                    <a:cubicBezTo>
                      <a:pt x="512" y="110"/>
                      <a:pt x="516" y="116"/>
                      <a:pt x="525" y="116"/>
                    </a:cubicBezTo>
                    <a:cubicBezTo>
                      <a:pt x="533" y="116"/>
                      <a:pt x="537" y="110"/>
                      <a:pt x="537" y="104"/>
                    </a:cubicBezTo>
                    <a:close/>
                    <a:moveTo>
                      <a:pt x="476" y="68"/>
                    </a:moveTo>
                    <a:lnTo>
                      <a:pt x="452" y="68"/>
                    </a:lnTo>
                    <a:cubicBezTo>
                      <a:pt x="452" y="62"/>
                      <a:pt x="454" y="51"/>
                      <a:pt x="464" y="51"/>
                    </a:cubicBezTo>
                    <a:cubicBezTo>
                      <a:pt x="474" y="51"/>
                      <a:pt x="476" y="62"/>
                      <a:pt x="476" y="68"/>
                    </a:cubicBezTo>
                    <a:moveTo>
                      <a:pt x="496" y="74"/>
                    </a:moveTo>
                    <a:cubicBezTo>
                      <a:pt x="496" y="56"/>
                      <a:pt x="489" y="36"/>
                      <a:pt x="464" y="36"/>
                    </a:cubicBezTo>
                    <a:cubicBezTo>
                      <a:pt x="441" y="36"/>
                      <a:pt x="431" y="56"/>
                      <a:pt x="431" y="76"/>
                    </a:cubicBezTo>
                    <a:cubicBezTo>
                      <a:pt x="431" y="90"/>
                      <a:pt x="435" y="115"/>
                      <a:pt x="462" y="115"/>
                    </a:cubicBezTo>
                    <a:cubicBezTo>
                      <a:pt x="483" y="115"/>
                      <a:pt x="495" y="108"/>
                      <a:pt x="495" y="108"/>
                    </a:cubicBezTo>
                    <a:lnTo>
                      <a:pt x="494" y="92"/>
                    </a:lnTo>
                    <a:cubicBezTo>
                      <a:pt x="494" y="92"/>
                      <a:pt x="480" y="100"/>
                      <a:pt x="466" y="100"/>
                    </a:cubicBezTo>
                    <a:cubicBezTo>
                      <a:pt x="457" y="100"/>
                      <a:pt x="452" y="94"/>
                      <a:pt x="452" y="80"/>
                    </a:cubicBezTo>
                    <a:lnTo>
                      <a:pt x="496" y="80"/>
                    </a:lnTo>
                    <a:cubicBezTo>
                      <a:pt x="496" y="80"/>
                      <a:pt x="496" y="76"/>
                      <a:pt x="496" y="74"/>
                    </a:cubicBezTo>
                    <a:moveTo>
                      <a:pt x="413" y="114"/>
                    </a:moveTo>
                    <a:lnTo>
                      <a:pt x="413" y="54"/>
                    </a:lnTo>
                    <a:cubicBezTo>
                      <a:pt x="413" y="48"/>
                      <a:pt x="412" y="38"/>
                      <a:pt x="412" y="38"/>
                    </a:cubicBezTo>
                    <a:lnTo>
                      <a:pt x="393" y="38"/>
                    </a:lnTo>
                    <a:lnTo>
                      <a:pt x="393" y="114"/>
                    </a:lnTo>
                    <a:lnTo>
                      <a:pt x="413" y="114"/>
                    </a:lnTo>
                    <a:close/>
                    <a:moveTo>
                      <a:pt x="416" y="12"/>
                    </a:moveTo>
                    <a:cubicBezTo>
                      <a:pt x="416" y="6"/>
                      <a:pt x="411" y="0"/>
                      <a:pt x="403" y="0"/>
                    </a:cubicBezTo>
                    <a:cubicBezTo>
                      <a:pt x="395" y="0"/>
                      <a:pt x="391" y="6"/>
                      <a:pt x="391" y="12"/>
                    </a:cubicBezTo>
                    <a:cubicBezTo>
                      <a:pt x="391" y="18"/>
                      <a:pt x="395" y="24"/>
                      <a:pt x="403" y="24"/>
                    </a:cubicBezTo>
                    <a:cubicBezTo>
                      <a:pt x="411" y="24"/>
                      <a:pt x="416" y="18"/>
                      <a:pt x="416" y="12"/>
                    </a:cubicBezTo>
                    <a:close/>
                    <a:moveTo>
                      <a:pt x="353" y="88"/>
                    </a:moveTo>
                    <a:cubicBezTo>
                      <a:pt x="347" y="95"/>
                      <a:pt x="341" y="97"/>
                      <a:pt x="337" y="97"/>
                    </a:cubicBezTo>
                    <a:cubicBezTo>
                      <a:pt x="328" y="97"/>
                      <a:pt x="326" y="83"/>
                      <a:pt x="326" y="75"/>
                    </a:cubicBezTo>
                    <a:cubicBezTo>
                      <a:pt x="326" y="66"/>
                      <a:pt x="327" y="53"/>
                      <a:pt x="339" y="53"/>
                    </a:cubicBezTo>
                    <a:cubicBezTo>
                      <a:pt x="343" y="53"/>
                      <a:pt x="347" y="54"/>
                      <a:pt x="353" y="57"/>
                    </a:cubicBezTo>
                    <a:lnTo>
                      <a:pt x="353" y="88"/>
                    </a:lnTo>
                    <a:close/>
                    <a:moveTo>
                      <a:pt x="375" y="38"/>
                    </a:moveTo>
                    <a:lnTo>
                      <a:pt x="355" y="38"/>
                    </a:lnTo>
                    <a:cubicBezTo>
                      <a:pt x="355" y="38"/>
                      <a:pt x="354" y="40"/>
                      <a:pt x="354" y="42"/>
                    </a:cubicBezTo>
                    <a:cubicBezTo>
                      <a:pt x="352" y="41"/>
                      <a:pt x="345" y="36"/>
                      <a:pt x="336" y="36"/>
                    </a:cubicBezTo>
                    <a:cubicBezTo>
                      <a:pt x="315" y="36"/>
                      <a:pt x="305" y="53"/>
                      <a:pt x="305" y="75"/>
                    </a:cubicBezTo>
                    <a:cubicBezTo>
                      <a:pt x="305" y="90"/>
                      <a:pt x="310" y="114"/>
                      <a:pt x="332" y="114"/>
                    </a:cubicBezTo>
                    <a:cubicBezTo>
                      <a:pt x="344" y="114"/>
                      <a:pt x="352" y="105"/>
                      <a:pt x="353" y="103"/>
                    </a:cubicBezTo>
                    <a:cubicBezTo>
                      <a:pt x="353" y="103"/>
                      <a:pt x="353" y="108"/>
                      <a:pt x="353" y="110"/>
                    </a:cubicBezTo>
                    <a:lnTo>
                      <a:pt x="353" y="115"/>
                    </a:lnTo>
                    <a:cubicBezTo>
                      <a:pt x="353" y="117"/>
                      <a:pt x="353" y="119"/>
                      <a:pt x="352" y="121"/>
                    </a:cubicBezTo>
                    <a:cubicBezTo>
                      <a:pt x="351" y="125"/>
                      <a:pt x="347" y="128"/>
                      <a:pt x="338" y="128"/>
                    </a:cubicBezTo>
                    <a:cubicBezTo>
                      <a:pt x="323" y="128"/>
                      <a:pt x="310" y="122"/>
                      <a:pt x="310" y="122"/>
                    </a:cubicBezTo>
                    <a:lnTo>
                      <a:pt x="309" y="140"/>
                    </a:lnTo>
                    <a:cubicBezTo>
                      <a:pt x="309" y="140"/>
                      <a:pt x="320" y="146"/>
                      <a:pt x="338" y="146"/>
                    </a:cubicBezTo>
                    <a:cubicBezTo>
                      <a:pt x="357" y="146"/>
                      <a:pt x="369" y="139"/>
                      <a:pt x="373" y="125"/>
                    </a:cubicBezTo>
                    <a:cubicBezTo>
                      <a:pt x="373" y="122"/>
                      <a:pt x="373" y="116"/>
                      <a:pt x="373" y="112"/>
                    </a:cubicBezTo>
                    <a:lnTo>
                      <a:pt x="373" y="56"/>
                    </a:lnTo>
                    <a:cubicBezTo>
                      <a:pt x="373" y="47"/>
                      <a:pt x="375" y="38"/>
                      <a:pt x="375" y="38"/>
                    </a:cubicBezTo>
                    <a:moveTo>
                      <a:pt x="294" y="38"/>
                    </a:moveTo>
                    <a:cubicBezTo>
                      <a:pt x="294" y="38"/>
                      <a:pt x="293" y="37"/>
                      <a:pt x="285" y="37"/>
                    </a:cubicBezTo>
                    <a:cubicBezTo>
                      <a:pt x="279" y="37"/>
                      <a:pt x="273" y="42"/>
                      <a:pt x="270" y="45"/>
                    </a:cubicBezTo>
                    <a:cubicBezTo>
                      <a:pt x="270" y="46"/>
                      <a:pt x="269" y="47"/>
                      <a:pt x="269" y="47"/>
                    </a:cubicBezTo>
                    <a:cubicBezTo>
                      <a:pt x="269" y="43"/>
                      <a:pt x="268" y="38"/>
                      <a:pt x="268" y="38"/>
                    </a:cubicBezTo>
                    <a:lnTo>
                      <a:pt x="248" y="38"/>
                    </a:lnTo>
                    <a:cubicBezTo>
                      <a:pt x="248" y="38"/>
                      <a:pt x="249" y="47"/>
                      <a:pt x="249" y="56"/>
                    </a:cubicBezTo>
                    <a:lnTo>
                      <a:pt x="249" y="114"/>
                    </a:lnTo>
                    <a:lnTo>
                      <a:pt x="270" y="114"/>
                    </a:lnTo>
                    <a:lnTo>
                      <a:pt x="270" y="60"/>
                    </a:lnTo>
                    <a:cubicBezTo>
                      <a:pt x="275" y="56"/>
                      <a:pt x="279" y="53"/>
                      <a:pt x="282" y="53"/>
                    </a:cubicBezTo>
                    <a:cubicBezTo>
                      <a:pt x="288" y="53"/>
                      <a:pt x="292" y="54"/>
                      <a:pt x="292" y="54"/>
                    </a:cubicBezTo>
                    <a:lnTo>
                      <a:pt x="294" y="38"/>
                    </a:lnTo>
                    <a:close/>
                    <a:moveTo>
                      <a:pt x="211" y="68"/>
                    </a:moveTo>
                    <a:lnTo>
                      <a:pt x="187" y="68"/>
                    </a:lnTo>
                    <a:cubicBezTo>
                      <a:pt x="187" y="62"/>
                      <a:pt x="189" y="51"/>
                      <a:pt x="198" y="51"/>
                    </a:cubicBezTo>
                    <a:cubicBezTo>
                      <a:pt x="209" y="51"/>
                      <a:pt x="211" y="62"/>
                      <a:pt x="211" y="68"/>
                    </a:cubicBezTo>
                    <a:moveTo>
                      <a:pt x="231" y="74"/>
                    </a:moveTo>
                    <a:cubicBezTo>
                      <a:pt x="231" y="56"/>
                      <a:pt x="224" y="36"/>
                      <a:pt x="198" y="36"/>
                    </a:cubicBezTo>
                    <a:cubicBezTo>
                      <a:pt x="176" y="36"/>
                      <a:pt x="165" y="56"/>
                      <a:pt x="165" y="76"/>
                    </a:cubicBezTo>
                    <a:cubicBezTo>
                      <a:pt x="165" y="90"/>
                      <a:pt x="170" y="115"/>
                      <a:pt x="197" y="115"/>
                    </a:cubicBezTo>
                    <a:cubicBezTo>
                      <a:pt x="218" y="115"/>
                      <a:pt x="230" y="108"/>
                      <a:pt x="230" y="108"/>
                    </a:cubicBezTo>
                    <a:lnTo>
                      <a:pt x="229" y="92"/>
                    </a:lnTo>
                    <a:cubicBezTo>
                      <a:pt x="229" y="92"/>
                      <a:pt x="214" y="100"/>
                      <a:pt x="200" y="100"/>
                    </a:cubicBezTo>
                    <a:cubicBezTo>
                      <a:pt x="191" y="100"/>
                      <a:pt x="187" y="94"/>
                      <a:pt x="187" y="80"/>
                    </a:cubicBezTo>
                    <a:lnTo>
                      <a:pt x="231" y="80"/>
                    </a:lnTo>
                    <a:cubicBezTo>
                      <a:pt x="231" y="80"/>
                      <a:pt x="231" y="76"/>
                      <a:pt x="231" y="74"/>
                    </a:cubicBezTo>
                    <a:moveTo>
                      <a:pt x="148" y="114"/>
                    </a:moveTo>
                    <a:lnTo>
                      <a:pt x="148" y="62"/>
                    </a:lnTo>
                    <a:cubicBezTo>
                      <a:pt x="148" y="55"/>
                      <a:pt x="147" y="49"/>
                      <a:pt x="144" y="45"/>
                    </a:cubicBezTo>
                    <a:cubicBezTo>
                      <a:pt x="141" y="39"/>
                      <a:pt x="135" y="36"/>
                      <a:pt x="126" y="36"/>
                    </a:cubicBezTo>
                    <a:cubicBezTo>
                      <a:pt x="115" y="36"/>
                      <a:pt x="104" y="45"/>
                      <a:pt x="101" y="48"/>
                    </a:cubicBezTo>
                    <a:cubicBezTo>
                      <a:pt x="101" y="43"/>
                      <a:pt x="101" y="38"/>
                      <a:pt x="101" y="38"/>
                    </a:cubicBezTo>
                    <a:lnTo>
                      <a:pt x="81" y="38"/>
                    </a:lnTo>
                    <a:cubicBezTo>
                      <a:pt x="81" y="38"/>
                      <a:pt x="82" y="47"/>
                      <a:pt x="82" y="56"/>
                    </a:cubicBezTo>
                    <a:lnTo>
                      <a:pt x="82" y="114"/>
                    </a:lnTo>
                    <a:lnTo>
                      <a:pt x="102" y="114"/>
                    </a:lnTo>
                    <a:lnTo>
                      <a:pt x="102" y="62"/>
                    </a:lnTo>
                    <a:cubicBezTo>
                      <a:pt x="105" y="59"/>
                      <a:pt x="112" y="54"/>
                      <a:pt x="119" y="54"/>
                    </a:cubicBezTo>
                    <a:cubicBezTo>
                      <a:pt x="124" y="54"/>
                      <a:pt x="128" y="55"/>
                      <a:pt x="128" y="64"/>
                    </a:cubicBezTo>
                    <a:lnTo>
                      <a:pt x="128" y="114"/>
                    </a:lnTo>
                    <a:lnTo>
                      <a:pt x="148" y="114"/>
                    </a:lnTo>
                    <a:close/>
                    <a:moveTo>
                      <a:pt x="66" y="114"/>
                    </a:moveTo>
                    <a:lnTo>
                      <a:pt x="66" y="96"/>
                    </a:lnTo>
                    <a:lnTo>
                      <a:pt x="21" y="96"/>
                    </a:lnTo>
                    <a:lnTo>
                      <a:pt x="21" y="69"/>
                    </a:lnTo>
                    <a:lnTo>
                      <a:pt x="57" y="69"/>
                    </a:lnTo>
                    <a:lnTo>
                      <a:pt x="57" y="52"/>
                    </a:lnTo>
                    <a:lnTo>
                      <a:pt x="21" y="52"/>
                    </a:lnTo>
                    <a:lnTo>
                      <a:pt x="21" y="29"/>
                    </a:lnTo>
                    <a:lnTo>
                      <a:pt x="62" y="29"/>
                    </a:lnTo>
                    <a:lnTo>
                      <a:pt x="64" y="11"/>
                    </a:lnTo>
                    <a:lnTo>
                      <a:pt x="0" y="11"/>
                    </a:lnTo>
                    <a:lnTo>
                      <a:pt x="0" y="114"/>
                    </a:lnTo>
                    <a:lnTo>
                      <a:pt x="66" y="114"/>
                    </a:lnTo>
                    <a:close/>
                  </a:path>
                </a:pathLst>
              </a:custGeom>
              <a:solidFill>
                <a:srgbClr val="57687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4" name="Freeform 39">
                <a:extLst>
                  <a:ext uri="{FF2B5EF4-FFF2-40B4-BE49-F238E27FC236}">
                    <a16:creationId xmlns:a16="http://schemas.microsoft.com/office/drawing/2014/main" id="{5F598DA8-679A-4759-BA95-A9F969FF5EA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429374" y="990263"/>
                <a:ext cx="354012" cy="273050"/>
              </a:xfrm>
              <a:custGeom>
                <a:avLst/>
                <a:gdLst>
                  <a:gd name="T0" fmla="*/ 0 w 443"/>
                  <a:gd name="T1" fmla="*/ 0 h 341"/>
                  <a:gd name="T2" fmla="*/ 0 w 443"/>
                  <a:gd name="T3" fmla="*/ 217 h 341"/>
                  <a:gd name="T4" fmla="*/ 131 w 443"/>
                  <a:gd name="T5" fmla="*/ 341 h 341"/>
                  <a:gd name="T6" fmla="*/ 222 w 443"/>
                  <a:gd name="T7" fmla="*/ 300 h 341"/>
                  <a:gd name="T8" fmla="*/ 313 w 443"/>
                  <a:gd name="T9" fmla="*/ 341 h 341"/>
                  <a:gd name="T10" fmla="*/ 443 w 443"/>
                  <a:gd name="T11" fmla="*/ 217 h 341"/>
                  <a:gd name="T12" fmla="*/ 443 w 443"/>
                  <a:gd name="T13" fmla="*/ 0 h 341"/>
                  <a:gd name="T14" fmla="*/ 365 w 443"/>
                  <a:gd name="T15" fmla="*/ 0 h 341"/>
                  <a:gd name="T16" fmla="*/ 365 w 443"/>
                  <a:gd name="T17" fmla="*/ 219 h 341"/>
                  <a:gd name="T18" fmla="*/ 313 w 443"/>
                  <a:gd name="T19" fmla="*/ 268 h 341"/>
                  <a:gd name="T20" fmla="*/ 261 w 443"/>
                  <a:gd name="T21" fmla="*/ 219 h 341"/>
                  <a:gd name="T22" fmla="*/ 261 w 443"/>
                  <a:gd name="T23" fmla="*/ 0 h 341"/>
                  <a:gd name="T24" fmla="*/ 183 w 443"/>
                  <a:gd name="T25" fmla="*/ 0 h 341"/>
                  <a:gd name="T26" fmla="*/ 183 w 443"/>
                  <a:gd name="T27" fmla="*/ 219 h 341"/>
                  <a:gd name="T28" fmla="*/ 131 w 443"/>
                  <a:gd name="T29" fmla="*/ 268 h 341"/>
                  <a:gd name="T30" fmla="*/ 79 w 443"/>
                  <a:gd name="T31" fmla="*/ 219 h 341"/>
                  <a:gd name="T32" fmla="*/ 79 w 443"/>
                  <a:gd name="T33" fmla="*/ 0 h 341"/>
                  <a:gd name="T34" fmla="*/ 0 w 443"/>
                  <a:gd name="T35" fmla="*/ 0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3" h="341">
                    <a:moveTo>
                      <a:pt x="0" y="0"/>
                    </a:moveTo>
                    <a:lnTo>
                      <a:pt x="0" y="217"/>
                    </a:lnTo>
                    <a:cubicBezTo>
                      <a:pt x="0" y="285"/>
                      <a:pt x="59" y="341"/>
                      <a:pt x="131" y="341"/>
                    </a:cubicBezTo>
                    <a:cubicBezTo>
                      <a:pt x="165" y="341"/>
                      <a:pt x="205" y="322"/>
                      <a:pt x="222" y="300"/>
                    </a:cubicBezTo>
                    <a:cubicBezTo>
                      <a:pt x="239" y="322"/>
                      <a:pt x="279" y="341"/>
                      <a:pt x="313" y="341"/>
                    </a:cubicBezTo>
                    <a:cubicBezTo>
                      <a:pt x="385" y="341"/>
                      <a:pt x="443" y="285"/>
                      <a:pt x="443" y="217"/>
                    </a:cubicBezTo>
                    <a:lnTo>
                      <a:pt x="443" y="0"/>
                    </a:lnTo>
                    <a:lnTo>
                      <a:pt x="365" y="0"/>
                    </a:lnTo>
                    <a:lnTo>
                      <a:pt x="365" y="219"/>
                    </a:lnTo>
                    <a:cubicBezTo>
                      <a:pt x="365" y="246"/>
                      <a:pt x="342" y="268"/>
                      <a:pt x="313" y="268"/>
                    </a:cubicBezTo>
                    <a:cubicBezTo>
                      <a:pt x="285" y="268"/>
                      <a:pt x="261" y="246"/>
                      <a:pt x="261" y="219"/>
                    </a:cubicBezTo>
                    <a:lnTo>
                      <a:pt x="261" y="0"/>
                    </a:lnTo>
                    <a:lnTo>
                      <a:pt x="183" y="0"/>
                    </a:lnTo>
                    <a:lnTo>
                      <a:pt x="183" y="219"/>
                    </a:lnTo>
                    <a:cubicBezTo>
                      <a:pt x="183" y="246"/>
                      <a:pt x="159" y="268"/>
                      <a:pt x="131" y="268"/>
                    </a:cubicBezTo>
                    <a:cubicBezTo>
                      <a:pt x="102" y="268"/>
                      <a:pt x="79" y="246"/>
                      <a:pt x="79" y="219"/>
                    </a:cubicBez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5" name="Freeform 40">
                <a:extLst>
                  <a:ext uri="{FF2B5EF4-FFF2-40B4-BE49-F238E27FC236}">
                    <a16:creationId xmlns:a16="http://schemas.microsoft.com/office/drawing/2014/main" id="{57BDC298-F3D1-4543-AFF4-AC01EDDB62E9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130924" y="982325"/>
                <a:ext cx="276225" cy="277813"/>
              </a:xfrm>
              <a:custGeom>
                <a:avLst/>
                <a:gdLst>
                  <a:gd name="T0" fmla="*/ 345 w 347"/>
                  <a:gd name="T1" fmla="*/ 199 h 348"/>
                  <a:gd name="T2" fmla="*/ 347 w 347"/>
                  <a:gd name="T3" fmla="*/ 174 h 348"/>
                  <a:gd name="T4" fmla="*/ 174 w 347"/>
                  <a:gd name="T5" fmla="*/ 0 h 348"/>
                  <a:gd name="T6" fmla="*/ 0 w 347"/>
                  <a:gd name="T7" fmla="*/ 174 h 348"/>
                  <a:gd name="T8" fmla="*/ 174 w 347"/>
                  <a:gd name="T9" fmla="*/ 348 h 348"/>
                  <a:gd name="T10" fmla="*/ 336 w 347"/>
                  <a:gd name="T11" fmla="*/ 237 h 348"/>
                  <a:gd name="T12" fmla="*/ 254 w 347"/>
                  <a:gd name="T13" fmla="*/ 237 h 348"/>
                  <a:gd name="T14" fmla="*/ 174 w 347"/>
                  <a:gd name="T15" fmla="*/ 276 h 348"/>
                  <a:gd name="T16" fmla="*/ 71 w 347"/>
                  <a:gd name="T17" fmla="*/ 174 h 348"/>
                  <a:gd name="T18" fmla="*/ 174 w 347"/>
                  <a:gd name="T19" fmla="*/ 71 h 348"/>
                  <a:gd name="T20" fmla="*/ 265 w 347"/>
                  <a:gd name="T21" fmla="*/ 128 h 348"/>
                  <a:gd name="T22" fmla="*/ 141 w 347"/>
                  <a:gd name="T23" fmla="*/ 128 h 348"/>
                  <a:gd name="T24" fmla="*/ 141 w 347"/>
                  <a:gd name="T25" fmla="*/ 199 h 348"/>
                  <a:gd name="T26" fmla="*/ 345 w 347"/>
                  <a:gd name="T27" fmla="*/ 199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7" h="348">
                    <a:moveTo>
                      <a:pt x="345" y="199"/>
                    </a:moveTo>
                    <a:cubicBezTo>
                      <a:pt x="347" y="191"/>
                      <a:pt x="347" y="183"/>
                      <a:pt x="347" y="174"/>
                    </a:cubicBezTo>
                    <a:cubicBezTo>
                      <a:pt x="347" y="78"/>
                      <a:pt x="270" y="0"/>
                      <a:pt x="174" y="0"/>
                    </a:cubicBezTo>
                    <a:cubicBezTo>
                      <a:pt x="78" y="0"/>
                      <a:pt x="0" y="78"/>
                      <a:pt x="0" y="174"/>
                    </a:cubicBezTo>
                    <a:cubicBezTo>
                      <a:pt x="0" y="270"/>
                      <a:pt x="78" y="348"/>
                      <a:pt x="174" y="348"/>
                    </a:cubicBezTo>
                    <a:cubicBezTo>
                      <a:pt x="248" y="348"/>
                      <a:pt x="310" y="301"/>
                      <a:pt x="336" y="237"/>
                    </a:cubicBezTo>
                    <a:lnTo>
                      <a:pt x="254" y="237"/>
                    </a:lnTo>
                    <a:cubicBezTo>
                      <a:pt x="235" y="260"/>
                      <a:pt x="206" y="276"/>
                      <a:pt x="174" y="276"/>
                    </a:cubicBezTo>
                    <a:cubicBezTo>
                      <a:pt x="117" y="276"/>
                      <a:pt x="71" y="230"/>
                      <a:pt x="71" y="174"/>
                    </a:cubicBezTo>
                    <a:cubicBezTo>
                      <a:pt x="71" y="117"/>
                      <a:pt x="117" y="71"/>
                      <a:pt x="174" y="71"/>
                    </a:cubicBezTo>
                    <a:cubicBezTo>
                      <a:pt x="214" y="71"/>
                      <a:pt x="248" y="95"/>
                      <a:pt x="265" y="128"/>
                    </a:cubicBezTo>
                    <a:lnTo>
                      <a:pt x="141" y="128"/>
                    </a:lnTo>
                    <a:lnTo>
                      <a:pt x="141" y="199"/>
                    </a:lnTo>
                    <a:lnTo>
                      <a:pt x="345" y="199"/>
                    </a:ln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6" name="Freeform 41">
                <a:extLst>
                  <a:ext uri="{FF2B5EF4-FFF2-40B4-BE49-F238E27FC236}">
                    <a16:creationId xmlns:a16="http://schemas.microsoft.com/office/drawing/2014/main" id="{7A9A748A-CB83-4144-8F00-BC54166F02BD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7834061" y="868025"/>
                <a:ext cx="276225" cy="395288"/>
              </a:xfrm>
              <a:custGeom>
                <a:avLst/>
                <a:gdLst>
                  <a:gd name="T0" fmla="*/ 273 w 347"/>
                  <a:gd name="T1" fmla="*/ 0 h 496"/>
                  <a:gd name="T2" fmla="*/ 273 w 347"/>
                  <a:gd name="T3" fmla="*/ 184 h 496"/>
                  <a:gd name="T4" fmla="*/ 173 w 347"/>
                  <a:gd name="T5" fmla="*/ 150 h 496"/>
                  <a:gd name="T6" fmla="*/ 0 w 347"/>
                  <a:gd name="T7" fmla="*/ 323 h 496"/>
                  <a:gd name="T8" fmla="*/ 173 w 347"/>
                  <a:gd name="T9" fmla="*/ 496 h 496"/>
                  <a:gd name="T10" fmla="*/ 273 w 347"/>
                  <a:gd name="T11" fmla="*/ 463 h 496"/>
                  <a:gd name="T12" fmla="*/ 273 w 347"/>
                  <a:gd name="T13" fmla="*/ 492 h 496"/>
                  <a:gd name="T14" fmla="*/ 347 w 347"/>
                  <a:gd name="T15" fmla="*/ 492 h 496"/>
                  <a:gd name="T16" fmla="*/ 347 w 347"/>
                  <a:gd name="T17" fmla="*/ 0 h 496"/>
                  <a:gd name="T18" fmla="*/ 273 w 347"/>
                  <a:gd name="T19" fmla="*/ 0 h 496"/>
                  <a:gd name="T20" fmla="*/ 196 w 347"/>
                  <a:gd name="T21" fmla="*/ 421 h 496"/>
                  <a:gd name="T22" fmla="*/ 173 w 347"/>
                  <a:gd name="T23" fmla="*/ 425 h 496"/>
                  <a:gd name="T24" fmla="*/ 134 w 347"/>
                  <a:gd name="T25" fmla="*/ 416 h 496"/>
                  <a:gd name="T26" fmla="*/ 71 w 347"/>
                  <a:gd name="T27" fmla="*/ 321 h 496"/>
                  <a:gd name="T28" fmla="*/ 173 w 347"/>
                  <a:gd name="T29" fmla="*/ 219 h 496"/>
                  <a:gd name="T30" fmla="*/ 276 w 347"/>
                  <a:gd name="T31" fmla="*/ 321 h 496"/>
                  <a:gd name="T32" fmla="*/ 196 w 347"/>
                  <a:gd name="T33" fmla="*/ 421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7" h="496">
                    <a:moveTo>
                      <a:pt x="273" y="0"/>
                    </a:moveTo>
                    <a:lnTo>
                      <a:pt x="273" y="184"/>
                    </a:lnTo>
                    <a:cubicBezTo>
                      <a:pt x="245" y="163"/>
                      <a:pt x="211" y="150"/>
                      <a:pt x="173" y="150"/>
                    </a:cubicBezTo>
                    <a:cubicBezTo>
                      <a:pt x="77" y="150"/>
                      <a:pt x="0" y="227"/>
                      <a:pt x="0" y="323"/>
                    </a:cubicBezTo>
                    <a:cubicBezTo>
                      <a:pt x="0" y="418"/>
                      <a:pt x="77" y="496"/>
                      <a:pt x="173" y="496"/>
                    </a:cubicBezTo>
                    <a:cubicBezTo>
                      <a:pt x="211" y="496"/>
                      <a:pt x="245" y="484"/>
                      <a:pt x="273" y="463"/>
                    </a:cubicBezTo>
                    <a:lnTo>
                      <a:pt x="273" y="492"/>
                    </a:lnTo>
                    <a:lnTo>
                      <a:pt x="347" y="492"/>
                    </a:lnTo>
                    <a:lnTo>
                      <a:pt x="347" y="0"/>
                    </a:lnTo>
                    <a:lnTo>
                      <a:pt x="273" y="0"/>
                    </a:lnTo>
                    <a:close/>
                    <a:moveTo>
                      <a:pt x="196" y="421"/>
                    </a:moveTo>
                    <a:cubicBezTo>
                      <a:pt x="189" y="423"/>
                      <a:pt x="181" y="425"/>
                      <a:pt x="173" y="425"/>
                    </a:cubicBezTo>
                    <a:cubicBezTo>
                      <a:pt x="159" y="425"/>
                      <a:pt x="146" y="421"/>
                      <a:pt x="134" y="416"/>
                    </a:cubicBezTo>
                    <a:cubicBezTo>
                      <a:pt x="97" y="401"/>
                      <a:pt x="71" y="364"/>
                      <a:pt x="71" y="321"/>
                    </a:cubicBezTo>
                    <a:cubicBezTo>
                      <a:pt x="71" y="265"/>
                      <a:pt x="117" y="219"/>
                      <a:pt x="173" y="219"/>
                    </a:cubicBezTo>
                    <a:cubicBezTo>
                      <a:pt x="230" y="219"/>
                      <a:pt x="276" y="265"/>
                      <a:pt x="276" y="321"/>
                    </a:cubicBezTo>
                    <a:cubicBezTo>
                      <a:pt x="276" y="370"/>
                      <a:pt x="242" y="411"/>
                      <a:pt x="196" y="421"/>
                    </a:cubicBez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7" name="Freeform 42">
                <a:extLst>
                  <a:ext uri="{FF2B5EF4-FFF2-40B4-BE49-F238E27FC236}">
                    <a16:creationId xmlns:a16="http://schemas.microsoft.com/office/drawing/2014/main" id="{6CB0F4B4-6126-44F3-9253-1B13F4FFCE28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7538786" y="868025"/>
                <a:ext cx="277812" cy="395288"/>
              </a:xfrm>
              <a:custGeom>
                <a:avLst/>
                <a:gdLst>
                  <a:gd name="T0" fmla="*/ 175 w 348"/>
                  <a:gd name="T1" fmla="*/ 150 h 496"/>
                  <a:gd name="T2" fmla="*/ 75 w 348"/>
                  <a:gd name="T3" fmla="*/ 184 h 496"/>
                  <a:gd name="T4" fmla="*/ 75 w 348"/>
                  <a:gd name="T5" fmla="*/ 0 h 496"/>
                  <a:gd name="T6" fmla="*/ 0 w 348"/>
                  <a:gd name="T7" fmla="*/ 0 h 496"/>
                  <a:gd name="T8" fmla="*/ 0 w 348"/>
                  <a:gd name="T9" fmla="*/ 492 h 496"/>
                  <a:gd name="T10" fmla="*/ 75 w 348"/>
                  <a:gd name="T11" fmla="*/ 492 h 496"/>
                  <a:gd name="T12" fmla="*/ 75 w 348"/>
                  <a:gd name="T13" fmla="*/ 463 h 496"/>
                  <a:gd name="T14" fmla="*/ 175 w 348"/>
                  <a:gd name="T15" fmla="*/ 496 h 496"/>
                  <a:gd name="T16" fmla="*/ 348 w 348"/>
                  <a:gd name="T17" fmla="*/ 323 h 496"/>
                  <a:gd name="T18" fmla="*/ 175 w 348"/>
                  <a:gd name="T19" fmla="*/ 150 h 496"/>
                  <a:gd name="T20" fmla="*/ 214 w 348"/>
                  <a:gd name="T21" fmla="*/ 416 h 496"/>
                  <a:gd name="T22" fmla="*/ 175 w 348"/>
                  <a:gd name="T23" fmla="*/ 425 h 496"/>
                  <a:gd name="T24" fmla="*/ 152 w 348"/>
                  <a:gd name="T25" fmla="*/ 421 h 496"/>
                  <a:gd name="T26" fmla="*/ 72 w 348"/>
                  <a:gd name="T27" fmla="*/ 321 h 496"/>
                  <a:gd name="T28" fmla="*/ 175 w 348"/>
                  <a:gd name="T29" fmla="*/ 219 h 496"/>
                  <a:gd name="T30" fmla="*/ 277 w 348"/>
                  <a:gd name="T31" fmla="*/ 321 h 496"/>
                  <a:gd name="T32" fmla="*/ 214 w 348"/>
                  <a:gd name="T33" fmla="*/ 41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8" h="496">
                    <a:moveTo>
                      <a:pt x="175" y="150"/>
                    </a:moveTo>
                    <a:cubicBezTo>
                      <a:pt x="137" y="150"/>
                      <a:pt x="103" y="163"/>
                      <a:pt x="75" y="184"/>
                    </a:cubicBezTo>
                    <a:lnTo>
                      <a:pt x="75" y="0"/>
                    </a:lnTo>
                    <a:lnTo>
                      <a:pt x="0" y="0"/>
                    </a:lnTo>
                    <a:lnTo>
                      <a:pt x="0" y="492"/>
                    </a:lnTo>
                    <a:lnTo>
                      <a:pt x="75" y="492"/>
                    </a:lnTo>
                    <a:lnTo>
                      <a:pt x="75" y="463"/>
                    </a:lnTo>
                    <a:cubicBezTo>
                      <a:pt x="103" y="484"/>
                      <a:pt x="137" y="496"/>
                      <a:pt x="175" y="496"/>
                    </a:cubicBezTo>
                    <a:cubicBezTo>
                      <a:pt x="271" y="496"/>
                      <a:pt x="348" y="418"/>
                      <a:pt x="348" y="323"/>
                    </a:cubicBezTo>
                    <a:cubicBezTo>
                      <a:pt x="348" y="227"/>
                      <a:pt x="271" y="150"/>
                      <a:pt x="175" y="150"/>
                    </a:cubicBezTo>
                    <a:close/>
                    <a:moveTo>
                      <a:pt x="214" y="416"/>
                    </a:moveTo>
                    <a:cubicBezTo>
                      <a:pt x="202" y="421"/>
                      <a:pt x="189" y="425"/>
                      <a:pt x="175" y="425"/>
                    </a:cubicBezTo>
                    <a:cubicBezTo>
                      <a:pt x="167" y="425"/>
                      <a:pt x="159" y="423"/>
                      <a:pt x="152" y="421"/>
                    </a:cubicBezTo>
                    <a:cubicBezTo>
                      <a:pt x="106" y="411"/>
                      <a:pt x="72" y="370"/>
                      <a:pt x="72" y="321"/>
                    </a:cubicBezTo>
                    <a:cubicBezTo>
                      <a:pt x="72" y="265"/>
                      <a:pt x="118" y="219"/>
                      <a:pt x="175" y="219"/>
                    </a:cubicBezTo>
                    <a:cubicBezTo>
                      <a:pt x="231" y="219"/>
                      <a:pt x="277" y="265"/>
                      <a:pt x="277" y="321"/>
                    </a:cubicBezTo>
                    <a:cubicBezTo>
                      <a:pt x="277" y="364"/>
                      <a:pt x="251" y="401"/>
                      <a:pt x="214" y="416"/>
                    </a:cubicBez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231" name="Bildplatzhalter 230">
            <a:extLst>
              <a:ext uri="{FF2B5EF4-FFF2-40B4-BE49-F238E27FC236}">
                <a16:creationId xmlns:a16="http://schemas.microsoft.com/office/drawing/2014/main" id="{5093C0B1-AC9E-468C-A24D-AF578C248AE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223200" cy="3024435"/>
          </a:xfrm>
          <a:custGeom>
            <a:avLst/>
            <a:gdLst>
              <a:gd name="connsiteX0" fmla="*/ 143223 w 9215438"/>
              <a:gd name="connsiteY0" fmla="*/ 3024000 h 3024435"/>
              <a:gd name="connsiteX1" fmla="*/ 157623 w 9215438"/>
              <a:gd name="connsiteY1" fmla="*/ 3024000 h 3024435"/>
              <a:gd name="connsiteX2" fmla="*/ 157623 w 9215438"/>
              <a:gd name="connsiteY2" fmla="*/ 3024435 h 3024435"/>
              <a:gd name="connsiteX3" fmla="*/ 143223 w 9215438"/>
              <a:gd name="connsiteY3" fmla="*/ 3024435 h 3024435"/>
              <a:gd name="connsiteX4" fmla="*/ 9063563 w 9215438"/>
              <a:gd name="connsiteY4" fmla="*/ 1800000 h 3024435"/>
              <a:gd name="connsiteX5" fmla="*/ 9071223 w 9215438"/>
              <a:gd name="connsiteY5" fmla="*/ 1800000 h 3024435"/>
              <a:gd name="connsiteX6" fmla="*/ 9071223 w 9215438"/>
              <a:gd name="connsiteY6" fmla="*/ 1800263 h 3024435"/>
              <a:gd name="connsiteX7" fmla="*/ 9063563 w 9215438"/>
              <a:gd name="connsiteY7" fmla="*/ 1800263 h 3024435"/>
              <a:gd name="connsiteX8" fmla="*/ 157348 w 9215438"/>
              <a:gd name="connsiteY8" fmla="*/ 144435 h 3024435"/>
              <a:gd name="connsiteX9" fmla="*/ 157623 w 9215438"/>
              <a:gd name="connsiteY9" fmla="*/ 144435 h 3024435"/>
              <a:gd name="connsiteX10" fmla="*/ 157623 w 9215438"/>
              <a:gd name="connsiteY10" fmla="*/ 158400 h 3024435"/>
              <a:gd name="connsiteX11" fmla="*/ 157348 w 9215438"/>
              <a:gd name="connsiteY11" fmla="*/ 158400 h 3024435"/>
              <a:gd name="connsiteX12" fmla="*/ 9057815 w 9215438"/>
              <a:gd name="connsiteY12" fmla="*/ 144115 h 3024435"/>
              <a:gd name="connsiteX13" fmla="*/ 9057815 w 9215438"/>
              <a:gd name="connsiteY13" fmla="*/ 576115 h 3024435"/>
              <a:gd name="connsiteX14" fmla="*/ 9072215 w 9215438"/>
              <a:gd name="connsiteY14" fmla="*/ 576115 h 3024435"/>
              <a:gd name="connsiteX15" fmla="*/ 9072215 w 9215438"/>
              <a:gd name="connsiteY15" fmla="*/ 144115 h 3024435"/>
              <a:gd name="connsiteX16" fmla="*/ 0 w 9215438"/>
              <a:gd name="connsiteY16" fmla="*/ 0 h 3024435"/>
              <a:gd name="connsiteX17" fmla="*/ 9215438 w 9215438"/>
              <a:gd name="connsiteY17" fmla="*/ 0 h 3024435"/>
              <a:gd name="connsiteX18" fmla="*/ 9215438 w 9215438"/>
              <a:gd name="connsiteY18" fmla="*/ 3024000 h 3024435"/>
              <a:gd name="connsiteX19" fmla="*/ 9077963 w 9215438"/>
              <a:gd name="connsiteY19" fmla="*/ 3024000 h 3024435"/>
              <a:gd name="connsiteX20" fmla="*/ 9077963 w 9215438"/>
              <a:gd name="connsiteY20" fmla="*/ 1800000 h 3024435"/>
              <a:gd name="connsiteX21" fmla="*/ 9071223 w 9215438"/>
              <a:gd name="connsiteY21" fmla="*/ 1800000 h 3024435"/>
              <a:gd name="connsiteX22" fmla="*/ 9071223 w 9215438"/>
              <a:gd name="connsiteY22" fmla="*/ 576263 h 3024435"/>
              <a:gd name="connsiteX23" fmla="*/ 7270998 w 9215438"/>
              <a:gd name="connsiteY23" fmla="*/ 576263 h 3024435"/>
              <a:gd name="connsiteX24" fmla="*/ 7270998 w 9215438"/>
              <a:gd name="connsiteY24" fmla="*/ 1800263 h 3024435"/>
              <a:gd name="connsiteX25" fmla="*/ 9063563 w 9215438"/>
              <a:gd name="connsiteY25" fmla="*/ 1800263 h 3024435"/>
              <a:gd name="connsiteX26" fmla="*/ 9063563 w 9215438"/>
              <a:gd name="connsiteY26" fmla="*/ 3024000 h 3024435"/>
              <a:gd name="connsiteX27" fmla="*/ 157623 w 9215438"/>
              <a:gd name="connsiteY27" fmla="*/ 3024000 h 3024435"/>
              <a:gd name="connsiteX28" fmla="*/ 157623 w 9215438"/>
              <a:gd name="connsiteY28" fmla="*/ 158400 h 3024435"/>
              <a:gd name="connsiteX29" fmla="*/ 9056548 w 9215438"/>
              <a:gd name="connsiteY29" fmla="*/ 158400 h 3024435"/>
              <a:gd name="connsiteX30" fmla="*/ 9056548 w 9215438"/>
              <a:gd name="connsiteY30" fmla="*/ 144000 h 3024435"/>
              <a:gd name="connsiteX31" fmla="*/ 157348 w 9215438"/>
              <a:gd name="connsiteY31" fmla="*/ 144000 h 3024435"/>
              <a:gd name="connsiteX32" fmla="*/ 157348 w 9215438"/>
              <a:gd name="connsiteY32" fmla="*/ 144435 h 3024435"/>
              <a:gd name="connsiteX33" fmla="*/ 143223 w 9215438"/>
              <a:gd name="connsiteY33" fmla="*/ 144435 h 3024435"/>
              <a:gd name="connsiteX34" fmla="*/ 143223 w 9215438"/>
              <a:gd name="connsiteY34" fmla="*/ 3024000 h 3024435"/>
              <a:gd name="connsiteX35" fmla="*/ 0 w 9215438"/>
              <a:gd name="connsiteY35" fmla="*/ 3024000 h 3024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9215438" h="3024435">
                <a:moveTo>
                  <a:pt x="143223" y="3024000"/>
                </a:moveTo>
                <a:lnTo>
                  <a:pt x="157623" y="3024000"/>
                </a:lnTo>
                <a:lnTo>
                  <a:pt x="157623" y="3024435"/>
                </a:lnTo>
                <a:lnTo>
                  <a:pt x="143223" y="3024435"/>
                </a:lnTo>
                <a:close/>
                <a:moveTo>
                  <a:pt x="9063563" y="1800000"/>
                </a:moveTo>
                <a:lnTo>
                  <a:pt x="9071223" y="1800000"/>
                </a:lnTo>
                <a:lnTo>
                  <a:pt x="9071223" y="1800263"/>
                </a:lnTo>
                <a:lnTo>
                  <a:pt x="9063563" y="1800263"/>
                </a:lnTo>
                <a:close/>
                <a:moveTo>
                  <a:pt x="157348" y="144435"/>
                </a:moveTo>
                <a:lnTo>
                  <a:pt x="157623" y="144435"/>
                </a:lnTo>
                <a:lnTo>
                  <a:pt x="157623" y="158400"/>
                </a:lnTo>
                <a:lnTo>
                  <a:pt x="157348" y="158400"/>
                </a:lnTo>
                <a:close/>
                <a:moveTo>
                  <a:pt x="9057815" y="144115"/>
                </a:moveTo>
                <a:lnTo>
                  <a:pt x="9057815" y="576115"/>
                </a:lnTo>
                <a:lnTo>
                  <a:pt x="9072215" y="576115"/>
                </a:lnTo>
                <a:lnTo>
                  <a:pt x="9072215" y="144115"/>
                </a:lnTo>
                <a:close/>
                <a:moveTo>
                  <a:pt x="0" y="0"/>
                </a:moveTo>
                <a:lnTo>
                  <a:pt x="9215438" y="0"/>
                </a:lnTo>
                <a:lnTo>
                  <a:pt x="9215438" y="3024000"/>
                </a:lnTo>
                <a:lnTo>
                  <a:pt x="9077963" y="3024000"/>
                </a:lnTo>
                <a:lnTo>
                  <a:pt x="9077963" y="1800000"/>
                </a:lnTo>
                <a:lnTo>
                  <a:pt x="9071223" y="1800000"/>
                </a:lnTo>
                <a:lnTo>
                  <a:pt x="9071223" y="576263"/>
                </a:lnTo>
                <a:lnTo>
                  <a:pt x="7270998" y="576263"/>
                </a:lnTo>
                <a:lnTo>
                  <a:pt x="7270998" y="1800263"/>
                </a:lnTo>
                <a:lnTo>
                  <a:pt x="9063563" y="1800263"/>
                </a:lnTo>
                <a:lnTo>
                  <a:pt x="9063563" y="3024000"/>
                </a:lnTo>
                <a:lnTo>
                  <a:pt x="157623" y="3024000"/>
                </a:lnTo>
                <a:lnTo>
                  <a:pt x="157623" y="158400"/>
                </a:lnTo>
                <a:lnTo>
                  <a:pt x="9056548" y="158400"/>
                </a:lnTo>
                <a:lnTo>
                  <a:pt x="9056548" y="144000"/>
                </a:lnTo>
                <a:lnTo>
                  <a:pt x="157348" y="144000"/>
                </a:lnTo>
                <a:lnTo>
                  <a:pt x="157348" y="144435"/>
                </a:lnTo>
                <a:lnTo>
                  <a:pt x="143223" y="144435"/>
                </a:lnTo>
                <a:lnTo>
                  <a:pt x="143223" y="3024000"/>
                </a:lnTo>
                <a:lnTo>
                  <a:pt x="0" y="3024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432000" tIns="32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D8F7A42-0CF4-4998-960F-E80D43C7A03A}"/>
              </a:ext>
            </a:extLst>
          </p:cNvPr>
          <p:cNvSpPr/>
          <p:nvPr userDrawn="1"/>
        </p:nvSpPr>
        <p:spPr bwMode="grayWhite">
          <a:xfrm>
            <a:off x="1" y="3024675"/>
            <a:ext cx="9215438" cy="21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60" dirty="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80B651-FA77-43FF-A552-95A5EF8C90D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431256" y="3528531"/>
            <a:ext cx="6911579" cy="360000"/>
          </a:xfrm>
        </p:spPr>
        <p:txBody>
          <a:bodyPr wrap="none" lIns="0" tIns="0" rIns="0" bIns="0" anchor="b">
            <a:noAutofit/>
          </a:bodyPr>
          <a:lstStyle>
            <a:lvl1pPr algn="l">
              <a:lnSpc>
                <a:spcPct val="100000"/>
              </a:lnSpc>
              <a:defRPr sz="26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2047FA1-05E6-4914-9E1F-9171B3BD67C4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31256" y="4032611"/>
            <a:ext cx="6911579" cy="576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345578" indent="0" algn="ctr">
              <a:buNone/>
              <a:defRPr sz="1512"/>
            </a:lvl2pPr>
            <a:lvl3pPr marL="691157" indent="0" algn="ctr">
              <a:buNone/>
              <a:defRPr sz="1360"/>
            </a:lvl3pPr>
            <a:lvl4pPr marL="1036735" indent="0" algn="ctr">
              <a:buNone/>
              <a:defRPr sz="1209"/>
            </a:lvl4pPr>
            <a:lvl5pPr marL="1382316" indent="0" algn="ctr">
              <a:buNone/>
              <a:defRPr sz="1209"/>
            </a:lvl5pPr>
            <a:lvl6pPr marL="1727893" indent="0" algn="ctr">
              <a:buNone/>
              <a:defRPr sz="1209"/>
            </a:lvl6pPr>
            <a:lvl7pPr marL="2073473" indent="0" algn="ctr">
              <a:buNone/>
              <a:defRPr sz="1209"/>
            </a:lvl7pPr>
            <a:lvl8pPr marL="2419051" indent="0" algn="ctr">
              <a:buNone/>
              <a:defRPr sz="1209"/>
            </a:lvl8pPr>
            <a:lvl9pPr marL="2764630" indent="0" algn="ctr">
              <a:buNone/>
              <a:defRPr sz="1209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31ADE1F-3339-4E57-AF5F-0ABBE14A423A}"/>
              </a:ext>
            </a:extLst>
          </p:cNvPr>
          <p:cNvSpPr txBox="1"/>
          <p:nvPr userDrawn="1"/>
        </p:nvSpPr>
        <p:spPr>
          <a:xfrm>
            <a:off x="431799" y="4680000"/>
            <a:ext cx="2880001" cy="216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de-DE" sz="800" dirty="0">
                <a:solidFill>
                  <a:schemeClr val="bg1"/>
                </a:solidFill>
              </a:rPr>
              <a:t>© BDEW Bundesverband der Energie- und Wasserwirtschaft e.V. </a:t>
            </a:r>
            <a:endParaRPr lang="de-DE" sz="1360" dirty="0">
              <a:solidFill>
                <a:schemeClr val="bg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14FA0E42-6739-40CF-8134-93A20DC4BE70}"/>
              </a:ext>
            </a:extLst>
          </p:cNvPr>
          <p:cNvSpPr/>
          <p:nvPr userDrawn="1"/>
        </p:nvSpPr>
        <p:spPr>
          <a:xfrm>
            <a:off x="149617" y="144115"/>
            <a:ext cx="8928000" cy="4896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36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F49EA0F-470E-4848-8624-5CE19AA0E52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240000" y="4680000"/>
            <a:ext cx="720000" cy="216000"/>
          </a:xfrm>
          <a:noFill/>
        </p:spPr>
        <p:txBody>
          <a:bodyPr wrap="none" lIns="0" tIns="0" rIns="0" bIns="0" rtlCol="0" anchor="ctr" anchorCtr="0">
            <a:noAutofit/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</a:lstStyle>
          <a:p>
            <a:r>
              <a:rPr lang="de-DE"/>
              <a:t>05.12.2025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3EA838E-5213-4879-A2D6-5CD6F8A3B68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 rot="16200000">
            <a:off x="-2540808" y="2412572"/>
            <a:ext cx="4932000" cy="144000"/>
          </a:xfrm>
        </p:spPr>
        <p:txBody>
          <a:bodyPr/>
          <a:lstStyle/>
          <a:p>
            <a:r>
              <a:rPr lang="de-DE"/>
              <a:t>Quartalsbericht III/2025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D656861-D621-4470-819F-20325BEF23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 rot="16200000">
            <a:off x="-180793" y="4990705"/>
            <a:ext cx="216000" cy="144000"/>
          </a:xfrm>
        </p:spPr>
        <p:txBody>
          <a:bodyPr/>
          <a:lstStyle/>
          <a:p>
            <a:fld id="{FBB44F12-EB88-474F-BA5E-385A9C5524F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1913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05">
          <p15:clr>
            <a:srgbClr val="FBAE40"/>
          </p15:clr>
        </p15:guide>
        <p15:guide id="3" pos="90">
          <p15:clr>
            <a:srgbClr val="FBAE40"/>
          </p15:clr>
        </p15:guide>
        <p15:guide id="4" pos="5715">
          <p15:clr>
            <a:srgbClr val="FBAE40"/>
          </p15:clr>
        </p15:guide>
        <p15:guide id="5" orient="horz" pos="9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0" name="Gruppieren 239">
            <a:extLst>
              <a:ext uri="{FF2B5EF4-FFF2-40B4-BE49-F238E27FC236}">
                <a16:creationId xmlns:a16="http://schemas.microsoft.com/office/drawing/2014/main" id="{635DE3A3-5F75-4957-8585-713416C3BA2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71990" y="576162"/>
            <a:ext cx="1800225" cy="1224000"/>
            <a:chOff x="7271990" y="576162"/>
            <a:chExt cx="1800225" cy="1224000"/>
          </a:xfrm>
        </p:grpSpPr>
        <p:sp>
          <p:nvSpPr>
            <p:cNvPr id="241" name="Rectangle 6">
              <a:extLst>
                <a:ext uri="{FF2B5EF4-FFF2-40B4-BE49-F238E27FC236}">
                  <a16:creationId xmlns:a16="http://schemas.microsoft.com/office/drawing/2014/main" id="{FC072CB3-74F3-433F-A5FE-3F1AF3C6175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71990" y="576162"/>
              <a:ext cx="1800225" cy="1224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42" name="Gruppieren 241">
              <a:extLst>
                <a:ext uri="{FF2B5EF4-FFF2-40B4-BE49-F238E27FC236}">
                  <a16:creationId xmlns:a16="http://schemas.microsoft.com/office/drawing/2014/main" id="{5FA7764E-1C3B-47DF-8BAD-7DDB70F8FEAE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7538786" y="868025"/>
              <a:ext cx="1244600" cy="646113"/>
              <a:chOff x="7538786" y="868025"/>
              <a:chExt cx="1244600" cy="646113"/>
            </a:xfrm>
          </p:grpSpPr>
          <p:sp>
            <p:nvSpPr>
              <p:cNvPr id="243" name="Freeform 38">
                <a:extLst>
                  <a:ext uri="{FF2B5EF4-FFF2-40B4-BE49-F238E27FC236}">
                    <a16:creationId xmlns:a16="http://schemas.microsoft.com/office/drawing/2014/main" id="{A8E670C4-5CE3-4C4C-A26F-FED2E9185BB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1398250"/>
                <a:ext cx="1244600" cy="115888"/>
              </a:xfrm>
              <a:custGeom>
                <a:avLst/>
                <a:gdLst>
                  <a:gd name="T0" fmla="*/ 1559 w 1559"/>
                  <a:gd name="T1" fmla="*/ 104 h 146"/>
                  <a:gd name="T2" fmla="*/ 1471 w 1559"/>
                  <a:gd name="T3" fmla="*/ 48 h 146"/>
                  <a:gd name="T4" fmla="*/ 1472 w 1559"/>
                  <a:gd name="T5" fmla="*/ 114 h 146"/>
                  <a:gd name="T6" fmla="*/ 1518 w 1559"/>
                  <a:gd name="T7" fmla="*/ 114 h 146"/>
                  <a:gd name="T8" fmla="*/ 1433 w 1559"/>
                  <a:gd name="T9" fmla="*/ 74 h 146"/>
                  <a:gd name="T10" fmla="*/ 1431 w 1559"/>
                  <a:gd name="T11" fmla="*/ 92 h 146"/>
                  <a:gd name="T12" fmla="*/ 1332 w 1559"/>
                  <a:gd name="T13" fmla="*/ 75 h 146"/>
                  <a:gd name="T14" fmla="*/ 1332 w 1559"/>
                  <a:gd name="T15" fmla="*/ 75 h 146"/>
                  <a:gd name="T16" fmla="*/ 1304 w 1559"/>
                  <a:gd name="T17" fmla="*/ 2 h 146"/>
                  <a:gd name="T18" fmla="*/ 1303 w 1559"/>
                  <a:gd name="T19" fmla="*/ 108 h 146"/>
                  <a:gd name="T20" fmla="*/ 1232 w 1559"/>
                  <a:gd name="T21" fmla="*/ 51 h 146"/>
                  <a:gd name="T22" fmla="*/ 1231 w 1559"/>
                  <a:gd name="T23" fmla="*/ 115 h 146"/>
                  <a:gd name="T24" fmla="*/ 1265 w 1559"/>
                  <a:gd name="T25" fmla="*/ 80 h 146"/>
                  <a:gd name="T26" fmla="*/ 1145 w 1559"/>
                  <a:gd name="T27" fmla="*/ 11 h 146"/>
                  <a:gd name="T28" fmla="*/ 1061 w 1559"/>
                  <a:gd name="T29" fmla="*/ 92 h 146"/>
                  <a:gd name="T30" fmla="*/ 1044 w 1559"/>
                  <a:gd name="T31" fmla="*/ 37 h 146"/>
                  <a:gd name="T32" fmla="*/ 1008 w 1559"/>
                  <a:gd name="T33" fmla="*/ 56 h 146"/>
                  <a:gd name="T34" fmla="*/ 1051 w 1559"/>
                  <a:gd name="T35" fmla="*/ 54 h 146"/>
                  <a:gd name="T36" fmla="*/ 970 w 1559"/>
                  <a:gd name="T37" fmla="*/ 68 h 146"/>
                  <a:gd name="T38" fmla="*/ 989 w 1559"/>
                  <a:gd name="T39" fmla="*/ 108 h 146"/>
                  <a:gd name="T40" fmla="*/ 990 w 1559"/>
                  <a:gd name="T41" fmla="*/ 74 h 146"/>
                  <a:gd name="T42" fmla="*/ 906 w 1559"/>
                  <a:gd name="T43" fmla="*/ 57 h 146"/>
                  <a:gd name="T44" fmla="*/ 892 w 1559"/>
                  <a:gd name="T45" fmla="*/ 92 h 146"/>
                  <a:gd name="T46" fmla="*/ 911 w 1559"/>
                  <a:gd name="T47" fmla="*/ 91 h 146"/>
                  <a:gd name="T48" fmla="*/ 837 w 1559"/>
                  <a:gd name="T49" fmla="*/ 57 h 146"/>
                  <a:gd name="T50" fmla="*/ 823 w 1559"/>
                  <a:gd name="T51" fmla="*/ 92 h 146"/>
                  <a:gd name="T52" fmla="*/ 843 w 1559"/>
                  <a:gd name="T53" fmla="*/ 91 h 146"/>
                  <a:gd name="T54" fmla="*/ 749 w 1559"/>
                  <a:gd name="T55" fmla="*/ 80 h 146"/>
                  <a:gd name="T56" fmla="*/ 765 w 1559"/>
                  <a:gd name="T57" fmla="*/ 43 h 146"/>
                  <a:gd name="T58" fmla="*/ 749 w 1559"/>
                  <a:gd name="T59" fmla="*/ 61 h 146"/>
                  <a:gd name="T60" fmla="*/ 751 w 1559"/>
                  <a:gd name="T61" fmla="*/ 107 h 146"/>
                  <a:gd name="T62" fmla="*/ 667 w 1559"/>
                  <a:gd name="T63" fmla="*/ 61 h 146"/>
                  <a:gd name="T64" fmla="*/ 613 w 1559"/>
                  <a:gd name="T65" fmla="*/ 61 h 146"/>
                  <a:gd name="T66" fmla="*/ 597 w 1559"/>
                  <a:gd name="T67" fmla="*/ 114 h 146"/>
                  <a:gd name="T68" fmla="*/ 650 w 1559"/>
                  <a:gd name="T69" fmla="*/ 114 h 146"/>
                  <a:gd name="T70" fmla="*/ 512 w 1559"/>
                  <a:gd name="T71" fmla="*/ 104 h 146"/>
                  <a:gd name="T72" fmla="*/ 464 w 1559"/>
                  <a:gd name="T73" fmla="*/ 51 h 146"/>
                  <a:gd name="T74" fmla="*/ 462 w 1559"/>
                  <a:gd name="T75" fmla="*/ 115 h 146"/>
                  <a:gd name="T76" fmla="*/ 496 w 1559"/>
                  <a:gd name="T77" fmla="*/ 80 h 146"/>
                  <a:gd name="T78" fmla="*/ 393 w 1559"/>
                  <a:gd name="T79" fmla="*/ 38 h 146"/>
                  <a:gd name="T80" fmla="*/ 391 w 1559"/>
                  <a:gd name="T81" fmla="*/ 12 h 146"/>
                  <a:gd name="T82" fmla="*/ 326 w 1559"/>
                  <a:gd name="T83" fmla="*/ 75 h 146"/>
                  <a:gd name="T84" fmla="*/ 355 w 1559"/>
                  <a:gd name="T85" fmla="*/ 38 h 146"/>
                  <a:gd name="T86" fmla="*/ 353 w 1559"/>
                  <a:gd name="T87" fmla="*/ 103 h 146"/>
                  <a:gd name="T88" fmla="*/ 310 w 1559"/>
                  <a:gd name="T89" fmla="*/ 122 h 146"/>
                  <a:gd name="T90" fmla="*/ 373 w 1559"/>
                  <a:gd name="T91" fmla="*/ 56 h 146"/>
                  <a:gd name="T92" fmla="*/ 269 w 1559"/>
                  <a:gd name="T93" fmla="*/ 47 h 146"/>
                  <a:gd name="T94" fmla="*/ 270 w 1559"/>
                  <a:gd name="T95" fmla="*/ 114 h 146"/>
                  <a:gd name="T96" fmla="*/ 211 w 1559"/>
                  <a:gd name="T97" fmla="*/ 68 h 146"/>
                  <a:gd name="T98" fmla="*/ 198 w 1559"/>
                  <a:gd name="T99" fmla="*/ 36 h 146"/>
                  <a:gd name="T100" fmla="*/ 200 w 1559"/>
                  <a:gd name="T101" fmla="*/ 100 h 146"/>
                  <a:gd name="T102" fmla="*/ 148 w 1559"/>
                  <a:gd name="T103" fmla="*/ 62 h 146"/>
                  <a:gd name="T104" fmla="*/ 81 w 1559"/>
                  <a:gd name="T105" fmla="*/ 38 h 146"/>
                  <a:gd name="T106" fmla="*/ 119 w 1559"/>
                  <a:gd name="T107" fmla="*/ 54 h 146"/>
                  <a:gd name="T108" fmla="*/ 66 w 1559"/>
                  <a:gd name="T109" fmla="*/ 96 h 146"/>
                  <a:gd name="T110" fmla="*/ 21 w 1559"/>
                  <a:gd name="T111" fmla="*/ 52 h 146"/>
                  <a:gd name="T112" fmla="*/ 0 w 1559"/>
                  <a:gd name="T113" fmla="*/ 11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59" h="146">
                    <a:moveTo>
                      <a:pt x="1559" y="104"/>
                    </a:moveTo>
                    <a:cubicBezTo>
                      <a:pt x="1559" y="98"/>
                      <a:pt x="1556" y="92"/>
                      <a:pt x="1547" y="92"/>
                    </a:cubicBezTo>
                    <a:cubicBezTo>
                      <a:pt x="1539" y="92"/>
                      <a:pt x="1535" y="98"/>
                      <a:pt x="1535" y="104"/>
                    </a:cubicBezTo>
                    <a:cubicBezTo>
                      <a:pt x="1535" y="110"/>
                      <a:pt x="1539" y="116"/>
                      <a:pt x="1547" y="116"/>
                    </a:cubicBezTo>
                    <a:cubicBezTo>
                      <a:pt x="1556" y="116"/>
                      <a:pt x="1559" y="110"/>
                      <a:pt x="1559" y="104"/>
                    </a:cubicBezTo>
                    <a:close/>
                    <a:moveTo>
                      <a:pt x="1518" y="114"/>
                    </a:moveTo>
                    <a:lnTo>
                      <a:pt x="1518" y="62"/>
                    </a:lnTo>
                    <a:cubicBezTo>
                      <a:pt x="1518" y="55"/>
                      <a:pt x="1517" y="49"/>
                      <a:pt x="1514" y="45"/>
                    </a:cubicBezTo>
                    <a:cubicBezTo>
                      <a:pt x="1510" y="39"/>
                      <a:pt x="1504" y="36"/>
                      <a:pt x="1495" y="36"/>
                    </a:cubicBezTo>
                    <a:cubicBezTo>
                      <a:pt x="1485" y="36"/>
                      <a:pt x="1474" y="45"/>
                      <a:pt x="1471" y="48"/>
                    </a:cubicBezTo>
                    <a:cubicBezTo>
                      <a:pt x="1471" y="43"/>
                      <a:pt x="1470" y="38"/>
                      <a:pt x="1470" y="38"/>
                    </a:cubicBezTo>
                    <a:lnTo>
                      <a:pt x="1450" y="38"/>
                    </a:lnTo>
                    <a:cubicBezTo>
                      <a:pt x="1450" y="38"/>
                      <a:pt x="1451" y="47"/>
                      <a:pt x="1451" y="56"/>
                    </a:cubicBezTo>
                    <a:lnTo>
                      <a:pt x="1451" y="114"/>
                    </a:lnTo>
                    <a:lnTo>
                      <a:pt x="1472" y="114"/>
                    </a:lnTo>
                    <a:lnTo>
                      <a:pt x="1472" y="62"/>
                    </a:lnTo>
                    <a:cubicBezTo>
                      <a:pt x="1475" y="59"/>
                      <a:pt x="1482" y="54"/>
                      <a:pt x="1488" y="54"/>
                    </a:cubicBezTo>
                    <a:cubicBezTo>
                      <a:pt x="1493" y="54"/>
                      <a:pt x="1497" y="55"/>
                      <a:pt x="1497" y="64"/>
                    </a:cubicBezTo>
                    <a:lnTo>
                      <a:pt x="1497" y="114"/>
                    </a:lnTo>
                    <a:lnTo>
                      <a:pt x="1518" y="114"/>
                    </a:lnTo>
                    <a:close/>
                    <a:moveTo>
                      <a:pt x="1413" y="68"/>
                    </a:moveTo>
                    <a:lnTo>
                      <a:pt x="1389" y="68"/>
                    </a:lnTo>
                    <a:cubicBezTo>
                      <a:pt x="1389" y="62"/>
                      <a:pt x="1391" y="51"/>
                      <a:pt x="1400" y="51"/>
                    </a:cubicBezTo>
                    <a:cubicBezTo>
                      <a:pt x="1411" y="51"/>
                      <a:pt x="1413" y="62"/>
                      <a:pt x="1413" y="68"/>
                    </a:cubicBezTo>
                    <a:close/>
                    <a:moveTo>
                      <a:pt x="1433" y="74"/>
                    </a:moveTo>
                    <a:cubicBezTo>
                      <a:pt x="1433" y="56"/>
                      <a:pt x="1426" y="36"/>
                      <a:pt x="1400" y="36"/>
                    </a:cubicBezTo>
                    <a:cubicBezTo>
                      <a:pt x="1378" y="36"/>
                      <a:pt x="1367" y="56"/>
                      <a:pt x="1367" y="76"/>
                    </a:cubicBezTo>
                    <a:cubicBezTo>
                      <a:pt x="1367" y="90"/>
                      <a:pt x="1372" y="115"/>
                      <a:pt x="1399" y="115"/>
                    </a:cubicBezTo>
                    <a:cubicBezTo>
                      <a:pt x="1420" y="115"/>
                      <a:pt x="1432" y="108"/>
                      <a:pt x="1432" y="108"/>
                    </a:cubicBezTo>
                    <a:lnTo>
                      <a:pt x="1431" y="92"/>
                    </a:lnTo>
                    <a:cubicBezTo>
                      <a:pt x="1431" y="92"/>
                      <a:pt x="1416" y="100"/>
                      <a:pt x="1402" y="100"/>
                    </a:cubicBezTo>
                    <a:cubicBezTo>
                      <a:pt x="1393" y="100"/>
                      <a:pt x="1389" y="94"/>
                      <a:pt x="1389" y="80"/>
                    </a:cubicBezTo>
                    <a:lnTo>
                      <a:pt x="1433" y="80"/>
                    </a:lnTo>
                    <a:cubicBezTo>
                      <a:pt x="1433" y="80"/>
                      <a:pt x="1433" y="76"/>
                      <a:pt x="1433" y="74"/>
                    </a:cubicBezTo>
                    <a:moveTo>
                      <a:pt x="1332" y="75"/>
                    </a:moveTo>
                    <a:cubicBezTo>
                      <a:pt x="1332" y="93"/>
                      <a:pt x="1326" y="99"/>
                      <a:pt x="1319" y="99"/>
                    </a:cubicBezTo>
                    <a:cubicBezTo>
                      <a:pt x="1316" y="99"/>
                      <a:pt x="1310" y="97"/>
                      <a:pt x="1304" y="94"/>
                    </a:cubicBezTo>
                    <a:lnTo>
                      <a:pt x="1304" y="59"/>
                    </a:lnTo>
                    <a:cubicBezTo>
                      <a:pt x="1310" y="54"/>
                      <a:pt x="1316" y="53"/>
                      <a:pt x="1320" y="53"/>
                    </a:cubicBezTo>
                    <a:cubicBezTo>
                      <a:pt x="1330" y="53"/>
                      <a:pt x="1332" y="67"/>
                      <a:pt x="1332" y="75"/>
                    </a:cubicBezTo>
                    <a:close/>
                    <a:moveTo>
                      <a:pt x="1353" y="76"/>
                    </a:moveTo>
                    <a:cubicBezTo>
                      <a:pt x="1353" y="60"/>
                      <a:pt x="1349" y="36"/>
                      <a:pt x="1324" y="36"/>
                    </a:cubicBezTo>
                    <a:cubicBezTo>
                      <a:pt x="1315" y="36"/>
                      <a:pt x="1306" y="43"/>
                      <a:pt x="1304" y="44"/>
                    </a:cubicBezTo>
                    <a:cubicBezTo>
                      <a:pt x="1304" y="44"/>
                      <a:pt x="1304" y="39"/>
                      <a:pt x="1304" y="36"/>
                    </a:cubicBezTo>
                    <a:lnTo>
                      <a:pt x="1304" y="2"/>
                    </a:lnTo>
                    <a:lnTo>
                      <a:pt x="1284" y="4"/>
                    </a:lnTo>
                    <a:lnTo>
                      <a:pt x="1284" y="98"/>
                    </a:lnTo>
                    <a:cubicBezTo>
                      <a:pt x="1284" y="105"/>
                      <a:pt x="1283" y="114"/>
                      <a:pt x="1283" y="114"/>
                    </a:cubicBezTo>
                    <a:lnTo>
                      <a:pt x="1302" y="114"/>
                    </a:lnTo>
                    <a:cubicBezTo>
                      <a:pt x="1303" y="112"/>
                      <a:pt x="1303" y="109"/>
                      <a:pt x="1303" y="108"/>
                    </a:cubicBezTo>
                    <a:cubicBezTo>
                      <a:pt x="1304" y="109"/>
                      <a:pt x="1313" y="115"/>
                      <a:pt x="1324" y="115"/>
                    </a:cubicBezTo>
                    <a:cubicBezTo>
                      <a:pt x="1342" y="115"/>
                      <a:pt x="1353" y="98"/>
                      <a:pt x="1353" y="76"/>
                    </a:cubicBezTo>
                    <a:moveTo>
                      <a:pt x="1245" y="68"/>
                    </a:moveTo>
                    <a:lnTo>
                      <a:pt x="1221" y="68"/>
                    </a:lnTo>
                    <a:cubicBezTo>
                      <a:pt x="1221" y="62"/>
                      <a:pt x="1223" y="51"/>
                      <a:pt x="1232" y="51"/>
                    </a:cubicBezTo>
                    <a:cubicBezTo>
                      <a:pt x="1243" y="51"/>
                      <a:pt x="1245" y="62"/>
                      <a:pt x="1245" y="68"/>
                    </a:cubicBezTo>
                    <a:close/>
                    <a:moveTo>
                      <a:pt x="1265" y="74"/>
                    </a:moveTo>
                    <a:cubicBezTo>
                      <a:pt x="1265" y="56"/>
                      <a:pt x="1258" y="36"/>
                      <a:pt x="1232" y="36"/>
                    </a:cubicBezTo>
                    <a:cubicBezTo>
                      <a:pt x="1210" y="36"/>
                      <a:pt x="1199" y="56"/>
                      <a:pt x="1199" y="76"/>
                    </a:cubicBezTo>
                    <a:cubicBezTo>
                      <a:pt x="1199" y="90"/>
                      <a:pt x="1204" y="115"/>
                      <a:pt x="1231" y="115"/>
                    </a:cubicBezTo>
                    <a:cubicBezTo>
                      <a:pt x="1251" y="115"/>
                      <a:pt x="1264" y="108"/>
                      <a:pt x="1264" y="108"/>
                    </a:cubicBezTo>
                    <a:lnTo>
                      <a:pt x="1263" y="92"/>
                    </a:lnTo>
                    <a:cubicBezTo>
                      <a:pt x="1263" y="92"/>
                      <a:pt x="1248" y="100"/>
                      <a:pt x="1234" y="100"/>
                    </a:cubicBezTo>
                    <a:cubicBezTo>
                      <a:pt x="1225" y="100"/>
                      <a:pt x="1221" y="94"/>
                      <a:pt x="1221" y="80"/>
                    </a:cubicBezTo>
                    <a:lnTo>
                      <a:pt x="1265" y="80"/>
                    </a:lnTo>
                    <a:cubicBezTo>
                      <a:pt x="1265" y="80"/>
                      <a:pt x="1265" y="76"/>
                      <a:pt x="1265" y="74"/>
                    </a:cubicBezTo>
                    <a:moveTo>
                      <a:pt x="1188" y="114"/>
                    </a:moveTo>
                    <a:lnTo>
                      <a:pt x="1188" y="95"/>
                    </a:lnTo>
                    <a:lnTo>
                      <a:pt x="1145" y="95"/>
                    </a:lnTo>
                    <a:lnTo>
                      <a:pt x="1145" y="11"/>
                    </a:lnTo>
                    <a:lnTo>
                      <a:pt x="1124" y="11"/>
                    </a:lnTo>
                    <a:lnTo>
                      <a:pt x="1124" y="114"/>
                    </a:lnTo>
                    <a:lnTo>
                      <a:pt x="1188" y="114"/>
                    </a:lnTo>
                    <a:close/>
                    <a:moveTo>
                      <a:pt x="1073" y="104"/>
                    </a:moveTo>
                    <a:cubicBezTo>
                      <a:pt x="1073" y="98"/>
                      <a:pt x="1069" y="92"/>
                      <a:pt x="1061" y="92"/>
                    </a:cubicBezTo>
                    <a:cubicBezTo>
                      <a:pt x="1053" y="92"/>
                      <a:pt x="1048" y="98"/>
                      <a:pt x="1048" y="104"/>
                    </a:cubicBezTo>
                    <a:cubicBezTo>
                      <a:pt x="1048" y="110"/>
                      <a:pt x="1053" y="116"/>
                      <a:pt x="1061" y="116"/>
                    </a:cubicBezTo>
                    <a:cubicBezTo>
                      <a:pt x="1069" y="116"/>
                      <a:pt x="1073" y="110"/>
                      <a:pt x="1073" y="104"/>
                    </a:cubicBezTo>
                    <a:close/>
                    <a:moveTo>
                      <a:pt x="1053" y="38"/>
                    </a:moveTo>
                    <a:cubicBezTo>
                      <a:pt x="1053" y="38"/>
                      <a:pt x="1052" y="37"/>
                      <a:pt x="1044" y="37"/>
                    </a:cubicBezTo>
                    <a:cubicBezTo>
                      <a:pt x="1038" y="37"/>
                      <a:pt x="1032" y="42"/>
                      <a:pt x="1029" y="45"/>
                    </a:cubicBezTo>
                    <a:cubicBezTo>
                      <a:pt x="1029" y="46"/>
                      <a:pt x="1028" y="47"/>
                      <a:pt x="1028" y="47"/>
                    </a:cubicBezTo>
                    <a:cubicBezTo>
                      <a:pt x="1028" y="43"/>
                      <a:pt x="1027" y="38"/>
                      <a:pt x="1027" y="38"/>
                    </a:cubicBezTo>
                    <a:lnTo>
                      <a:pt x="1007" y="38"/>
                    </a:lnTo>
                    <a:cubicBezTo>
                      <a:pt x="1007" y="38"/>
                      <a:pt x="1008" y="47"/>
                      <a:pt x="1008" y="56"/>
                    </a:cubicBezTo>
                    <a:lnTo>
                      <a:pt x="1008" y="114"/>
                    </a:lnTo>
                    <a:lnTo>
                      <a:pt x="1029" y="114"/>
                    </a:lnTo>
                    <a:lnTo>
                      <a:pt x="1029" y="60"/>
                    </a:lnTo>
                    <a:cubicBezTo>
                      <a:pt x="1034" y="56"/>
                      <a:pt x="1039" y="53"/>
                      <a:pt x="1041" y="53"/>
                    </a:cubicBezTo>
                    <a:cubicBezTo>
                      <a:pt x="1047" y="53"/>
                      <a:pt x="1051" y="54"/>
                      <a:pt x="1051" y="54"/>
                    </a:cubicBezTo>
                    <a:lnTo>
                      <a:pt x="1053" y="38"/>
                    </a:lnTo>
                    <a:close/>
                    <a:moveTo>
                      <a:pt x="970" y="68"/>
                    </a:moveTo>
                    <a:lnTo>
                      <a:pt x="946" y="68"/>
                    </a:lnTo>
                    <a:cubicBezTo>
                      <a:pt x="946" y="62"/>
                      <a:pt x="948" y="51"/>
                      <a:pt x="958" y="51"/>
                    </a:cubicBezTo>
                    <a:cubicBezTo>
                      <a:pt x="968" y="51"/>
                      <a:pt x="970" y="62"/>
                      <a:pt x="970" y="68"/>
                    </a:cubicBezTo>
                    <a:close/>
                    <a:moveTo>
                      <a:pt x="990" y="74"/>
                    </a:moveTo>
                    <a:cubicBezTo>
                      <a:pt x="990" y="56"/>
                      <a:pt x="983" y="36"/>
                      <a:pt x="958" y="36"/>
                    </a:cubicBezTo>
                    <a:cubicBezTo>
                      <a:pt x="935" y="36"/>
                      <a:pt x="925" y="56"/>
                      <a:pt x="925" y="76"/>
                    </a:cubicBezTo>
                    <a:cubicBezTo>
                      <a:pt x="925" y="90"/>
                      <a:pt x="929" y="115"/>
                      <a:pt x="956" y="115"/>
                    </a:cubicBezTo>
                    <a:cubicBezTo>
                      <a:pt x="977" y="115"/>
                      <a:pt x="989" y="108"/>
                      <a:pt x="989" y="108"/>
                    </a:cubicBezTo>
                    <a:lnTo>
                      <a:pt x="988" y="92"/>
                    </a:lnTo>
                    <a:cubicBezTo>
                      <a:pt x="988" y="92"/>
                      <a:pt x="974" y="100"/>
                      <a:pt x="960" y="100"/>
                    </a:cubicBezTo>
                    <a:cubicBezTo>
                      <a:pt x="951" y="100"/>
                      <a:pt x="946" y="94"/>
                      <a:pt x="946" y="80"/>
                    </a:cubicBezTo>
                    <a:lnTo>
                      <a:pt x="990" y="80"/>
                    </a:lnTo>
                    <a:cubicBezTo>
                      <a:pt x="990" y="80"/>
                      <a:pt x="990" y="76"/>
                      <a:pt x="990" y="74"/>
                    </a:cubicBezTo>
                    <a:moveTo>
                      <a:pt x="911" y="91"/>
                    </a:moveTo>
                    <a:cubicBezTo>
                      <a:pt x="911" y="73"/>
                      <a:pt x="894" y="70"/>
                      <a:pt x="882" y="64"/>
                    </a:cubicBezTo>
                    <a:cubicBezTo>
                      <a:pt x="879" y="63"/>
                      <a:pt x="876" y="61"/>
                      <a:pt x="876" y="58"/>
                    </a:cubicBezTo>
                    <a:cubicBezTo>
                      <a:pt x="876" y="56"/>
                      <a:pt x="878" y="52"/>
                      <a:pt x="884" y="52"/>
                    </a:cubicBezTo>
                    <a:cubicBezTo>
                      <a:pt x="894" y="52"/>
                      <a:pt x="906" y="57"/>
                      <a:pt x="906" y="57"/>
                    </a:cubicBezTo>
                    <a:lnTo>
                      <a:pt x="907" y="40"/>
                    </a:lnTo>
                    <a:cubicBezTo>
                      <a:pt x="907" y="40"/>
                      <a:pt x="897" y="36"/>
                      <a:pt x="885" y="36"/>
                    </a:cubicBezTo>
                    <a:cubicBezTo>
                      <a:pt x="870" y="36"/>
                      <a:pt x="857" y="44"/>
                      <a:pt x="857" y="60"/>
                    </a:cubicBezTo>
                    <a:cubicBezTo>
                      <a:pt x="857" y="77"/>
                      <a:pt x="874" y="80"/>
                      <a:pt x="885" y="85"/>
                    </a:cubicBezTo>
                    <a:cubicBezTo>
                      <a:pt x="889" y="87"/>
                      <a:pt x="892" y="89"/>
                      <a:pt x="892" y="92"/>
                    </a:cubicBezTo>
                    <a:cubicBezTo>
                      <a:pt x="892" y="96"/>
                      <a:pt x="888" y="99"/>
                      <a:pt x="883" y="99"/>
                    </a:cubicBezTo>
                    <a:cubicBezTo>
                      <a:pt x="872" y="99"/>
                      <a:pt x="857" y="91"/>
                      <a:pt x="857" y="91"/>
                    </a:cubicBezTo>
                    <a:lnTo>
                      <a:pt x="856" y="110"/>
                    </a:lnTo>
                    <a:cubicBezTo>
                      <a:pt x="856" y="110"/>
                      <a:pt x="869" y="116"/>
                      <a:pt x="883" y="116"/>
                    </a:cubicBezTo>
                    <a:cubicBezTo>
                      <a:pt x="898" y="116"/>
                      <a:pt x="911" y="108"/>
                      <a:pt x="911" y="91"/>
                    </a:cubicBezTo>
                    <a:close/>
                    <a:moveTo>
                      <a:pt x="843" y="91"/>
                    </a:moveTo>
                    <a:cubicBezTo>
                      <a:pt x="843" y="73"/>
                      <a:pt x="826" y="70"/>
                      <a:pt x="813" y="64"/>
                    </a:cubicBezTo>
                    <a:cubicBezTo>
                      <a:pt x="810" y="63"/>
                      <a:pt x="807" y="61"/>
                      <a:pt x="807" y="58"/>
                    </a:cubicBezTo>
                    <a:cubicBezTo>
                      <a:pt x="807" y="56"/>
                      <a:pt x="809" y="52"/>
                      <a:pt x="815" y="52"/>
                    </a:cubicBezTo>
                    <a:cubicBezTo>
                      <a:pt x="825" y="52"/>
                      <a:pt x="837" y="57"/>
                      <a:pt x="837" y="57"/>
                    </a:cubicBezTo>
                    <a:lnTo>
                      <a:pt x="838" y="40"/>
                    </a:lnTo>
                    <a:cubicBezTo>
                      <a:pt x="838" y="40"/>
                      <a:pt x="828" y="36"/>
                      <a:pt x="816" y="36"/>
                    </a:cubicBezTo>
                    <a:cubicBezTo>
                      <a:pt x="801" y="36"/>
                      <a:pt x="788" y="44"/>
                      <a:pt x="788" y="60"/>
                    </a:cubicBezTo>
                    <a:cubicBezTo>
                      <a:pt x="788" y="77"/>
                      <a:pt x="805" y="80"/>
                      <a:pt x="817" y="85"/>
                    </a:cubicBezTo>
                    <a:cubicBezTo>
                      <a:pt x="820" y="87"/>
                      <a:pt x="823" y="89"/>
                      <a:pt x="823" y="92"/>
                    </a:cubicBezTo>
                    <a:cubicBezTo>
                      <a:pt x="823" y="96"/>
                      <a:pt x="819" y="99"/>
                      <a:pt x="815" y="99"/>
                    </a:cubicBezTo>
                    <a:cubicBezTo>
                      <a:pt x="803" y="99"/>
                      <a:pt x="788" y="91"/>
                      <a:pt x="788" y="91"/>
                    </a:cubicBezTo>
                    <a:lnTo>
                      <a:pt x="787" y="110"/>
                    </a:lnTo>
                    <a:cubicBezTo>
                      <a:pt x="787" y="110"/>
                      <a:pt x="800" y="116"/>
                      <a:pt x="814" y="116"/>
                    </a:cubicBezTo>
                    <a:cubicBezTo>
                      <a:pt x="829" y="116"/>
                      <a:pt x="843" y="108"/>
                      <a:pt x="843" y="91"/>
                    </a:cubicBezTo>
                    <a:close/>
                    <a:moveTo>
                      <a:pt x="749" y="94"/>
                    </a:moveTo>
                    <a:cubicBezTo>
                      <a:pt x="747" y="96"/>
                      <a:pt x="742" y="100"/>
                      <a:pt x="736" y="100"/>
                    </a:cubicBezTo>
                    <a:cubicBezTo>
                      <a:pt x="731" y="100"/>
                      <a:pt x="729" y="95"/>
                      <a:pt x="729" y="91"/>
                    </a:cubicBezTo>
                    <a:cubicBezTo>
                      <a:pt x="729" y="89"/>
                      <a:pt x="730" y="87"/>
                      <a:pt x="732" y="85"/>
                    </a:cubicBezTo>
                    <a:cubicBezTo>
                      <a:pt x="736" y="81"/>
                      <a:pt x="746" y="80"/>
                      <a:pt x="749" y="80"/>
                    </a:cubicBezTo>
                    <a:lnTo>
                      <a:pt x="749" y="94"/>
                    </a:lnTo>
                    <a:close/>
                    <a:moveTo>
                      <a:pt x="771" y="114"/>
                    </a:moveTo>
                    <a:cubicBezTo>
                      <a:pt x="771" y="114"/>
                      <a:pt x="770" y="107"/>
                      <a:pt x="770" y="98"/>
                    </a:cubicBezTo>
                    <a:lnTo>
                      <a:pt x="770" y="62"/>
                    </a:lnTo>
                    <a:cubicBezTo>
                      <a:pt x="770" y="54"/>
                      <a:pt x="769" y="48"/>
                      <a:pt x="765" y="43"/>
                    </a:cubicBezTo>
                    <a:cubicBezTo>
                      <a:pt x="761" y="39"/>
                      <a:pt x="755" y="36"/>
                      <a:pt x="745" y="36"/>
                    </a:cubicBezTo>
                    <a:cubicBezTo>
                      <a:pt x="729" y="36"/>
                      <a:pt x="714" y="43"/>
                      <a:pt x="714" y="43"/>
                    </a:cubicBezTo>
                    <a:lnTo>
                      <a:pt x="715" y="59"/>
                    </a:lnTo>
                    <a:cubicBezTo>
                      <a:pt x="720" y="56"/>
                      <a:pt x="731" y="52"/>
                      <a:pt x="741" y="52"/>
                    </a:cubicBezTo>
                    <a:cubicBezTo>
                      <a:pt x="747" y="52"/>
                      <a:pt x="749" y="55"/>
                      <a:pt x="749" y="61"/>
                    </a:cubicBezTo>
                    <a:lnTo>
                      <a:pt x="749" y="69"/>
                    </a:lnTo>
                    <a:cubicBezTo>
                      <a:pt x="740" y="69"/>
                      <a:pt x="725" y="70"/>
                      <a:pt x="716" y="77"/>
                    </a:cubicBezTo>
                    <a:cubicBezTo>
                      <a:pt x="711" y="81"/>
                      <a:pt x="709" y="85"/>
                      <a:pt x="709" y="92"/>
                    </a:cubicBezTo>
                    <a:cubicBezTo>
                      <a:pt x="709" y="102"/>
                      <a:pt x="714" y="115"/>
                      <a:pt x="730" y="115"/>
                    </a:cubicBezTo>
                    <a:cubicBezTo>
                      <a:pt x="741" y="115"/>
                      <a:pt x="751" y="107"/>
                      <a:pt x="751" y="107"/>
                    </a:cubicBezTo>
                    <a:cubicBezTo>
                      <a:pt x="751" y="110"/>
                      <a:pt x="751" y="114"/>
                      <a:pt x="751" y="114"/>
                    </a:cubicBezTo>
                    <a:lnTo>
                      <a:pt x="771" y="114"/>
                    </a:lnTo>
                    <a:close/>
                    <a:moveTo>
                      <a:pt x="701" y="12"/>
                    </a:moveTo>
                    <a:lnTo>
                      <a:pt x="679" y="11"/>
                    </a:lnTo>
                    <a:lnTo>
                      <a:pt x="667" y="61"/>
                    </a:lnTo>
                    <a:cubicBezTo>
                      <a:pt x="665" y="68"/>
                      <a:pt x="663" y="83"/>
                      <a:pt x="662" y="86"/>
                    </a:cubicBezTo>
                    <a:cubicBezTo>
                      <a:pt x="662" y="83"/>
                      <a:pt x="659" y="68"/>
                      <a:pt x="658" y="61"/>
                    </a:cubicBezTo>
                    <a:lnTo>
                      <a:pt x="646" y="11"/>
                    </a:lnTo>
                    <a:lnTo>
                      <a:pt x="624" y="11"/>
                    </a:lnTo>
                    <a:lnTo>
                      <a:pt x="613" y="61"/>
                    </a:lnTo>
                    <a:cubicBezTo>
                      <a:pt x="611" y="68"/>
                      <a:pt x="609" y="82"/>
                      <a:pt x="608" y="85"/>
                    </a:cubicBezTo>
                    <a:cubicBezTo>
                      <a:pt x="608" y="82"/>
                      <a:pt x="605" y="68"/>
                      <a:pt x="604" y="61"/>
                    </a:cubicBezTo>
                    <a:lnTo>
                      <a:pt x="592" y="10"/>
                    </a:lnTo>
                    <a:lnTo>
                      <a:pt x="570" y="11"/>
                    </a:lnTo>
                    <a:lnTo>
                      <a:pt x="597" y="114"/>
                    </a:lnTo>
                    <a:lnTo>
                      <a:pt x="619" y="114"/>
                    </a:lnTo>
                    <a:lnTo>
                      <a:pt x="630" y="67"/>
                    </a:lnTo>
                    <a:cubicBezTo>
                      <a:pt x="631" y="59"/>
                      <a:pt x="635" y="40"/>
                      <a:pt x="635" y="40"/>
                    </a:cubicBezTo>
                    <a:cubicBezTo>
                      <a:pt x="635" y="40"/>
                      <a:pt x="638" y="59"/>
                      <a:pt x="640" y="67"/>
                    </a:cubicBezTo>
                    <a:lnTo>
                      <a:pt x="650" y="114"/>
                    </a:lnTo>
                    <a:lnTo>
                      <a:pt x="673" y="114"/>
                    </a:lnTo>
                    <a:lnTo>
                      <a:pt x="701" y="12"/>
                    </a:lnTo>
                    <a:close/>
                    <a:moveTo>
                      <a:pt x="537" y="104"/>
                    </a:moveTo>
                    <a:cubicBezTo>
                      <a:pt x="537" y="98"/>
                      <a:pt x="533" y="92"/>
                      <a:pt x="525" y="92"/>
                    </a:cubicBezTo>
                    <a:cubicBezTo>
                      <a:pt x="516" y="92"/>
                      <a:pt x="512" y="98"/>
                      <a:pt x="512" y="104"/>
                    </a:cubicBezTo>
                    <a:cubicBezTo>
                      <a:pt x="512" y="110"/>
                      <a:pt x="516" y="116"/>
                      <a:pt x="525" y="116"/>
                    </a:cubicBezTo>
                    <a:cubicBezTo>
                      <a:pt x="533" y="116"/>
                      <a:pt x="537" y="110"/>
                      <a:pt x="537" y="104"/>
                    </a:cubicBezTo>
                    <a:close/>
                    <a:moveTo>
                      <a:pt x="476" y="68"/>
                    </a:moveTo>
                    <a:lnTo>
                      <a:pt x="452" y="68"/>
                    </a:lnTo>
                    <a:cubicBezTo>
                      <a:pt x="452" y="62"/>
                      <a:pt x="454" y="51"/>
                      <a:pt x="464" y="51"/>
                    </a:cubicBezTo>
                    <a:cubicBezTo>
                      <a:pt x="474" y="51"/>
                      <a:pt x="476" y="62"/>
                      <a:pt x="476" y="68"/>
                    </a:cubicBezTo>
                    <a:moveTo>
                      <a:pt x="496" y="74"/>
                    </a:moveTo>
                    <a:cubicBezTo>
                      <a:pt x="496" y="56"/>
                      <a:pt x="489" y="36"/>
                      <a:pt x="464" y="36"/>
                    </a:cubicBezTo>
                    <a:cubicBezTo>
                      <a:pt x="441" y="36"/>
                      <a:pt x="431" y="56"/>
                      <a:pt x="431" y="76"/>
                    </a:cubicBezTo>
                    <a:cubicBezTo>
                      <a:pt x="431" y="90"/>
                      <a:pt x="435" y="115"/>
                      <a:pt x="462" y="115"/>
                    </a:cubicBezTo>
                    <a:cubicBezTo>
                      <a:pt x="483" y="115"/>
                      <a:pt x="495" y="108"/>
                      <a:pt x="495" y="108"/>
                    </a:cubicBezTo>
                    <a:lnTo>
                      <a:pt x="494" y="92"/>
                    </a:lnTo>
                    <a:cubicBezTo>
                      <a:pt x="494" y="92"/>
                      <a:pt x="480" y="100"/>
                      <a:pt x="466" y="100"/>
                    </a:cubicBezTo>
                    <a:cubicBezTo>
                      <a:pt x="457" y="100"/>
                      <a:pt x="452" y="94"/>
                      <a:pt x="452" y="80"/>
                    </a:cubicBezTo>
                    <a:lnTo>
                      <a:pt x="496" y="80"/>
                    </a:lnTo>
                    <a:cubicBezTo>
                      <a:pt x="496" y="80"/>
                      <a:pt x="496" y="76"/>
                      <a:pt x="496" y="74"/>
                    </a:cubicBezTo>
                    <a:moveTo>
                      <a:pt x="413" y="114"/>
                    </a:moveTo>
                    <a:lnTo>
                      <a:pt x="413" y="54"/>
                    </a:lnTo>
                    <a:cubicBezTo>
                      <a:pt x="413" y="48"/>
                      <a:pt x="412" y="38"/>
                      <a:pt x="412" y="38"/>
                    </a:cubicBezTo>
                    <a:lnTo>
                      <a:pt x="393" y="38"/>
                    </a:lnTo>
                    <a:lnTo>
                      <a:pt x="393" y="114"/>
                    </a:lnTo>
                    <a:lnTo>
                      <a:pt x="413" y="114"/>
                    </a:lnTo>
                    <a:close/>
                    <a:moveTo>
                      <a:pt x="416" y="12"/>
                    </a:moveTo>
                    <a:cubicBezTo>
                      <a:pt x="416" y="6"/>
                      <a:pt x="411" y="0"/>
                      <a:pt x="403" y="0"/>
                    </a:cubicBezTo>
                    <a:cubicBezTo>
                      <a:pt x="395" y="0"/>
                      <a:pt x="391" y="6"/>
                      <a:pt x="391" y="12"/>
                    </a:cubicBezTo>
                    <a:cubicBezTo>
                      <a:pt x="391" y="18"/>
                      <a:pt x="395" y="24"/>
                      <a:pt x="403" y="24"/>
                    </a:cubicBezTo>
                    <a:cubicBezTo>
                      <a:pt x="411" y="24"/>
                      <a:pt x="416" y="18"/>
                      <a:pt x="416" y="12"/>
                    </a:cubicBezTo>
                    <a:close/>
                    <a:moveTo>
                      <a:pt x="353" y="88"/>
                    </a:moveTo>
                    <a:cubicBezTo>
                      <a:pt x="347" y="95"/>
                      <a:pt x="341" y="97"/>
                      <a:pt x="337" y="97"/>
                    </a:cubicBezTo>
                    <a:cubicBezTo>
                      <a:pt x="328" y="97"/>
                      <a:pt x="326" y="83"/>
                      <a:pt x="326" y="75"/>
                    </a:cubicBezTo>
                    <a:cubicBezTo>
                      <a:pt x="326" y="66"/>
                      <a:pt x="327" y="53"/>
                      <a:pt x="339" y="53"/>
                    </a:cubicBezTo>
                    <a:cubicBezTo>
                      <a:pt x="343" y="53"/>
                      <a:pt x="347" y="54"/>
                      <a:pt x="353" y="57"/>
                    </a:cubicBezTo>
                    <a:lnTo>
                      <a:pt x="353" y="88"/>
                    </a:lnTo>
                    <a:close/>
                    <a:moveTo>
                      <a:pt x="375" y="38"/>
                    </a:moveTo>
                    <a:lnTo>
                      <a:pt x="355" y="38"/>
                    </a:lnTo>
                    <a:cubicBezTo>
                      <a:pt x="355" y="38"/>
                      <a:pt x="354" y="40"/>
                      <a:pt x="354" y="42"/>
                    </a:cubicBezTo>
                    <a:cubicBezTo>
                      <a:pt x="352" y="41"/>
                      <a:pt x="345" y="36"/>
                      <a:pt x="336" y="36"/>
                    </a:cubicBezTo>
                    <a:cubicBezTo>
                      <a:pt x="315" y="36"/>
                      <a:pt x="305" y="53"/>
                      <a:pt x="305" y="75"/>
                    </a:cubicBezTo>
                    <a:cubicBezTo>
                      <a:pt x="305" y="90"/>
                      <a:pt x="310" y="114"/>
                      <a:pt x="332" y="114"/>
                    </a:cubicBezTo>
                    <a:cubicBezTo>
                      <a:pt x="344" y="114"/>
                      <a:pt x="352" y="105"/>
                      <a:pt x="353" y="103"/>
                    </a:cubicBezTo>
                    <a:cubicBezTo>
                      <a:pt x="353" y="103"/>
                      <a:pt x="353" y="108"/>
                      <a:pt x="353" y="110"/>
                    </a:cubicBezTo>
                    <a:lnTo>
                      <a:pt x="353" y="115"/>
                    </a:lnTo>
                    <a:cubicBezTo>
                      <a:pt x="353" y="117"/>
                      <a:pt x="353" y="119"/>
                      <a:pt x="352" y="121"/>
                    </a:cubicBezTo>
                    <a:cubicBezTo>
                      <a:pt x="351" y="125"/>
                      <a:pt x="347" y="128"/>
                      <a:pt x="338" y="128"/>
                    </a:cubicBezTo>
                    <a:cubicBezTo>
                      <a:pt x="323" y="128"/>
                      <a:pt x="310" y="122"/>
                      <a:pt x="310" y="122"/>
                    </a:cubicBezTo>
                    <a:lnTo>
                      <a:pt x="309" y="140"/>
                    </a:lnTo>
                    <a:cubicBezTo>
                      <a:pt x="309" y="140"/>
                      <a:pt x="320" y="146"/>
                      <a:pt x="338" y="146"/>
                    </a:cubicBezTo>
                    <a:cubicBezTo>
                      <a:pt x="357" y="146"/>
                      <a:pt x="369" y="139"/>
                      <a:pt x="373" y="125"/>
                    </a:cubicBezTo>
                    <a:cubicBezTo>
                      <a:pt x="373" y="122"/>
                      <a:pt x="373" y="116"/>
                      <a:pt x="373" y="112"/>
                    </a:cubicBezTo>
                    <a:lnTo>
                      <a:pt x="373" y="56"/>
                    </a:lnTo>
                    <a:cubicBezTo>
                      <a:pt x="373" y="47"/>
                      <a:pt x="375" y="38"/>
                      <a:pt x="375" y="38"/>
                    </a:cubicBezTo>
                    <a:moveTo>
                      <a:pt x="294" y="38"/>
                    </a:moveTo>
                    <a:cubicBezTo>
                      <a:pt x="294" y="38"/>
                      <a:pt x="293" y="37"/>
                      <a:pt x="285" y="37"/>
                    </a:cubicBezTo>
                    <a:cubicBezTo>
                      <a:pt x="279" y="37"/>
                      <a:pt x="273" y="42"/>
                      <a:pt x="270" y="45"/>
                    </a:cubicBezTo>
                    <a:cubicBezTo>
                      <a:pt x="270" y="46"/>
                      <a:pt x="269" y="47"/>
                      <a:pt x="269" y="47"/>
                    </a:cubicBezTo>
                    <a:cubicBezTo>
                      <a:pt x="269" y="43"/>
                      <a:pt x="268" y="38"/>
                      <a:pt x="268" y="38"/>
                    </a:cubicBezTo>
                    <a:lnTo>
                      <a:pt x="248" y="38"/>
                    </a:lnTo>
                    <a:cubicBezTo>
                      <a:pt x="248" y="38"/>
                      <a:pt x="249" y="47"/>
                      <a:pt x="249" y="56"/>
                    </a:cubicBezTo>
                    <a:lnTo>
                      <a:pt x="249" y="114"/>
                    </a:lnTo>
                    <a:lnTo>
                      <a:pt x="270" y="114"/>
                    </a:lnTo>
                    <a:lnTo>
                      <a:pt x="270" y="60"/>
                    </a:lnTo>
                    <a:cubicBezTo>
                      <a:pt x="275" y="56"/>
                      <a:pt x="279" y="53"/>
                      <a:pt x="282" y="53"/>
                    </a:cubicBezTo>
                    <a:cubicBezTo>
                      <a:pt x="288" y="53"/>
                      <a:pt x="292" y="54"/>
                      <a:pt x="292" y="54"/>
                    </a:cubicBezTo>
                    <a:lnTo>
                      <a:pt x="294" y="38"/>
                    </a:lnTo>
                    <a:close/>
                    <a:moveTo>
                      <a:pt x="211" y="68"/>
                    </a:moveTo>
                    <a:lnTo>
                      <a:pt x="187" y="68"/>
                    </a:lnTo>
                    <a:cubicBezTo>
                      <a:pt x="187" y="62"/>
                      <a:pt x="189" y="51"/>
                      <a:pt x="198" y="51"/>
                    </a:cubicBezTo>
                    <a:cubicBezTo>
                      <a:pt x="209" y="51"/>
                      <a:pt x="211" y="62"/>
                      <a:pt x="211" y="68"/>
                    </a:cubicBezTo>
                    <a:moveTo>
                      <a:pt x="231" y="74"/>
                    </a:moveTo>
                    <a:cubicBezTo>
                      <a:pt x="231" y="56"/>
                      <a:pt x="224" y="36"/>
                      <a:pt x="198" y="36"/>
                    </a:cubicBezTo>
                    <a:cubicBezTo>
                      <a:pt x="176" y="36"/>
                      <a:pt x="165" y="56"/>
                      <a:pt x="165" y="76"/>
                    </a:cubicBezTo>
                    <a:cubicBezTo>
                      <a:pt x="165" y="90"/>
                      <a:pt x="170" y="115"/>
                      <a:pt x="197" y="115"/>
                    </a:cubicBezTo>
                    <a:cubicBezTo>
                      <a:pt x="218" y="115"/>
                      <a:pt x="230" y="108"/>
                      <a:pt x="230" y="108"/>
                    </a:cubicBezTo>
                    <a:lnTo>
                      <a:pt x="229" y="92"/>
                    </a:lnTo>
                    <a:cubicBezTo>
                      <a:pt x="229" y="92"/>
                      <a:pt x="214" y="100"/>
                      <a:pt x="200" y="100"/>
                    </a:cubicBezTo>
                    <a:cubicBezTo>
                      <a:pt x="191" y="100"/>
                      <a:pt x="187" y="94"/>
                      <a:pt x="187" y="80"/>
                    </a:cubicBezTo>
                    <a:lnTo>
                      <a:pt x="231" y="80"/>
                    </a:lnTo>
                    <a:cubicBezTo>
                      <a:pt x="231" y="80"/>
                      <a:pt x="231" y="76"/>
                      <a:pt x="231" y="74"/>
                    </a:cubicBezTo>
                    <a:moveTo>
                      <a:pt x="148" y="114"/>
                    </a:moveTo>
                    <a:lnTo>
                      <a:pt x="148" y="62"/>
                    </a:lnTo>
                    <a:cubicBezTo>
                      <a:pt x="148" y="55"/>
                      <a:pt x="147" y="49"/>
                      <a:pt x="144" y="45"/>
                    </a:cubicBezTo>
                    <a:cubicBezTo>
                      <a:pt x="141" y="39"/>
                      <a:pt x="135" y="36"/>
                      <a:pt x="126" y="36"/>
                    </a:cubicBezTo>
                    <a:cubicBezTo>
                      <a:pt x="115" y="36"/>
                      <a:pt x="104" y="45"/>
                      <a:pt x="101" y="48"/>
                    </a:cubicBezTo>
                    <a:cubicBezTo>
                      <a:pt x="101" y="43"/>
                      <a:pt x="101" y="38"/>
                      <a:pt x="101" y="38"/>
                    </a:cubicBezTo>
                    <a:lnTo>
                      <a:pt x="81" y="38"/>
                    </a:lnTo>
                    <a:cubicBezTo>
                      <a:pt x="81" y="38"/>
                      <a:pt x="82" y="47"/>
                      <a:pt x="82" y="56"/>
                    </a:cubicBezTo>
                    <a:lnTo>
                      <a:pt x="82" y="114"/>
                    </a:lnTo>
                    <a:lnTo>
                      <a:pt x="102" y="114"/>
                    </a:lnTo>
                    <a:lnTo>
                      <a:pt x="102" y="62"/>
                    </a:lnTo>
                    <a:cubicBezTo>
                      <a:pt x="105" y="59"/>
                      <a:pt x="112" y="54"/>
                      <a:pt x="119" y="54"/>
                    </a:cubicBezTo>
                    <a:cubicBezTo>
                      <a:pt x="124" y="54"/>
                      <a:pt x="128" y="55"/>
                      <a:pt x="128" y="64"/>
                    </a:cubicBezTo>
                    <a:lnTo>
                      <a:pt x="128" y="114"/>
                    </a:lnTo>
                    <a:lnTo>
                      <a:pt x="148" y="114"/>
                    </a:lnTo>
                    <a:close/>
                    <a:moveTo>
                      <a:pt x="66" y="114"/>
                    </a:moveTo>
                    <a:lnTo>
                      <a:pt x="66" y="96"/>
                    </a:lnTo>
                    <a:lnTo>
                      <a:pt x="21" y="96"/>
                    </a:lnTo>
                    <a:lnTo>
                      <a:pt x="21" y="69"/>
                    </a:lnTo>
                    <a:lnTo>
                      <a:pt x="57" y="69"/>
                    </a:lnTo>
                    <a:lnTo>
                      <a:pt x="57" y="52"/>
                    </a:lnTo>
                    <a:lnTo>
                      <a:pt x="21" y="52"/>
                    </a:lnTo>
                    <a:lnTo>
                      <a:pt x="21" y="29"/>
                    </a:lnTo>
                    <a:lnTo>
                      <a:pt x="62" y="29"/>
                    </a:lnTo>
                    <a:lnTo>
                      <a:pt x="64" y="11"/>
                    </a:lnTo>
                    <a:lnTo>
                      <a:pt x="0" y="11"/>
                    </a:lnTo>
                    <a:lnTo>
                      <a:pt x="0" y="114"/>
                    </a:lnTo>
                    <a:lnTo>
                      <a:pt x="66" y="114"/>
                    </a:lnTo>
                    <a:close/>
                  </a:path>
                </a:pathLst>
              </a:custGeom>
              <a:solidFill>
                <a:srgbClr val="57687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4" name="Freeform 39">
                <a:extLst>
                  <a:ext uri="{FF2B5EF4-FFF2-40B4-BE49-F238E27FC236}">
                    <a16:creationId xmlns:a16="http://schemas.microsoft.com/office/drawing/2014/main" id="{5F598DA8-679A-4759-BA95-A9F969FF5E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29374" y="990263"/>
                <a:ext cx="354012" cy="273050"/>
              </a:xfrm>
              <a:custGeom>
                <a:avLst/>
                <a:gdLst>
                  <a:gd name="T0" fmla="*/ 0 w 443"/>
                  <a:gd name="T1" fmla="*/ 0 h 341"/>
                  <a:gd name="T2" fmla="*/ 0 w 443"/>
                  <a:gd name="T3" fmla="*/ 217 h 341"/>
                  <a:gd name="T4" fmla="*/ 131 w 443"/>
                  <a:gd name="T5" fmla="*/ 341 h 341"/>
                  <a:gd name="T6" fmla="*/ 222 w 443"/>
                  <a:gd name="T7" fmla="*/ 300 h 341"/>
                  <a:gd name="T8" fmla="*/ 313 w 443"/>
                  <a:gd name="T9" fmla="*/ 341 h 341"/>
                  <a:gd name="T10" fmla="*/ 443 w 443"/>
                  <a:gd name="T11" fmla="*/ 217 h 341"/>
                  <a:gd name="T12" fmla="*/ 443 w 443"/>
                  <a:gd name="T13" fmla="*/ 0 h 341"/>
                  <a:gd name="T14" fmla="*/ 365 w 443"/>
                  <a:gd name="T15" fmla="*/ 0 h 341"/>
                  <a:gd name="T16" fmla="*/ 365 w 443"/>
                  <a:gd name="T17" fmla="*/ 219 h 341"/>
                  <a:gd name="T18" fmla="*/ 313 w 443"/>
                  <a:gd name="T19" fmla="*/ 268 h 341"/>
                  <a:gd name="T20" fmla="*/ 261 w 443"/>
                  <a:gd name="T21" fmla="*/ 219 h 341"/>
                  <a:gd name="T22" fmla="*/ 261 w 443"/>
                  <a:gd name="T23" fmla="*/ 0 h 341"/>
                  <a:gd name="T24" fmla="*/ 183 w 443"/>
                  <a:gd name="T25" fmla="*/ 0 h 341"/>
                  <a:gd name="T26" fmla="*/ 183 w 443"/>
                  <a:gd name="T27" fmla="*/ 219 h 341"/>
                  <a:gd name="T28" fmla="*/ 131 w 443"/>
                  <a:gd name="T29" fmla="*/ 268 h 341"/>
                  <a:gd name="T30" fmla="*/ 79 w 443"/>
                  <a:gd name="T31" fmla="*/ 219 h 341"/>
                  <a:gd name="T32" fmla="*/ 79 w 443"/>
                  <a:gd name="T33" fmla="*/ 0 h 341"/>
                  <a:gd name="T34" fmla="*/ 0 w 443"/>
                  <a:gd name="T35" fmla="*/ 0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3" h="341">
                    <a:moveTo>
                      <a:pt x="0" y="0"/>
                    </a:moveTo>
                    <a:lnTo>
                      <a:pt x="0" y="217"/>
                    </a:lnTo>
                    <a:cubicBezTo>
                      <a:pt x="0" y="285"/>
                      <a:pt x="59" y="341"/>
                      <a:pt x="131" y="341"/>
                    </a:cubicBezTo>
                    <a:cubicBezTo>
                      <a:pt x="165" y="341"/>
                      <a:pt x="205" y="322"/>
                      <a:pt x="222" y="300"/>
                    </a:cubicBezTo>
                    <a:cubicBezTo>
                      <a:pt x="239" y="322"/>
                      <a:pt x="279" y="341"/>
                      <a:pt x="313" y="341"/>
                    </a:cubicBezTo>
                    <a:cubicBezTo>
                      <a:pt x="385" y="341"/>
                      <a:pt x="443" y="285"/>
                      <a:pt x="443" y="217"/>
                    </a:cubicBezTo>
                    <a:lnTo>
                      <a:pt x="443" y="0"/>
                    </a:lnTo>
                    <a:lnTo>
                      <a:pt x="365" y="0"/>
                    </a:lnTo>
                    <a:lnTo>
                      <a:pt x="365" y="219"/>
                    </a:lnTo>
                    <a:cubicBezTo>
                      <a:pt x="365" y="246"/>
                      <a:pt x="342" y="268"/>
                      <a:pt x="313" y="268"/>
                    </a:cubicBezTo>
                    <a:cubicBezTo>
                      <a:pt x="285" y="268"/>
                      <a:pt x="261" y="246"/>
                      <a:pt x="261" y="219"/>
                    </a:cubicBezTo>
                    <a:lnTo>
                      <a:pt x="261" y="0"/>
                    </a:lnTo>
                    <a:lnTo>
                      <a:pt x="183" y="0"/>
                    </a:lnTo>
                    <a:lnTo>
                      <a:pt x="183" y="219"/>
                    </a:lnTo>
                    <a:cubicBezTo>
                      <a:pt x="183" y="246"/>
                      <a:pt x="159" y="268"/>
                      <a:pt x="131" y="268"/>
                    </a:cubicBezTo>
                    <a:cubicBezTo>
                      <a:pt x="102" y="268"/>
                      <a:pt x="79" y="246"/>
                      <a:pt x="79" y="219"/>
                    </a:cubicBez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5" name="Freeform 40">
                <a:extLst>
                  <a:ext uri="{FF2B5EF4-FFF2-40B4-BE49-F238E27FC236}">
                    <a16:creationId xmlns:a16="http://schemas.microsoft.com/office/drawing/2014/main" id="{57BDC298-F3D1-4543-AFF4-AC01EDDB62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30924" y="982325"/>
                <a:ext cx="276225" cy="277813"/>
              </a:xfrm>
              <a:custGeom>
                <a:avLst/>
                <a:gdLst>
                  <a:gd name="T0" fmla="*/ 345 w 347"/>
                  <a:gd name="T1" fmla="*/ 199 h 348"/>
                  <a:gd name="T2" fmla="*/ 347 w 347"/>
                  <a:gd name="T3" fmla="*/ 174 h 348"/>
                  <a:gd name="T4" fmla="*/ 174 w 347"/>
                  <a:gd name="T5" fmla="*/ 0 h 348"/>
                  <a:gd name="T6" fmla="*/ 0 w 347"/>
                  <a:gd name="T7" fmla="*/ 174 h 348"/>
                  <a:gd name="T8" fmla="*/ 174 w 347"/>
                  <a:gd name="T9" fmla="*/ 348 h 348"/>
                  <a:gd name="T10" fmla="*/ 336 w 347"/>
                  <a:gd name="T11" fmla="*/ 237 h 348"/>
                  <a:gd name="T12" fmla="*/ 254 w 347"/>
                  <a:gd name="T13" fmla="*/ 237 h 348"/>
                  <a:gd name="T14" fmla="*/ 174 w 347"/>
                  <a:gd name="T15" fmla="*/ 276 h 348"/>
                  <a:gd name="T16" fmla="*/ 71 w 347"/>
                  <a:gd name="T17" fmla="*/ 174 h 348"/>
                  <a:gd name="T18" fmla="*/ 174 w 347"/>
                  <a:gd name="T19" fmla="*/ 71 h 348"/>
                  <a:gd name="T20" fmla="*/ 265 w 347"/>
                  <a:gd name="T21" fmla="*/ 128 h 348"/>
                  <a:gd name="T22" fmla="*/ 141 w 347"/>
                  <a:gd name="T23" fmla="*/ 128 h 348"/>
                  <a:gd name="T24" fmla="*/ 141 w 347"/>
                  <a:gd name="T25" fmla="*/ 199 h 348"/>
                  <a:gd name="T26" fmla="*/ 345 w 347"/>
                  <a:gd name="T27" fmla="*/ 199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7" h="348">
                    <a:moveTo>
                      <a:pt x="345" y="199"/>
                    </a:moveTo>
                    <a:cubicBezTo>
                      <a:pt x="347" y="191"/>
                      <a:pt x="347" y="183"/>
                      <a:pt x="347" y="174"/>
                    </a:cubicBezTo>
                    <a:cubicBezTo>
                      <a:pt x="347" y="78"/>
                      <a:pt x="270" y="0"/>
                      <a:pt x="174" y="0"/>
                    </a:cubicBezTo>
                    <a:cubicBezTo>
                      <a:pt x="78" y="0"/>
                      <a:pt x="0" y="78"/>
                      <a:pt x="0" y="174"/>
                    </a:cubicBezTo>
                    <a:cubicBezTo>
                      <a:pt x="0" y="270"/>
                      <a:pt x="78" y="348"/>
                      <a:pt x="174" y="348"/>
                    </a:cubicBezTo>
                    <a:cubicBezTo>
                      <a:pt x="248" y="348"/>
                      <a:pt x="310" y="301"/>
                      <a:pt x="336" y="237"/>
                    </a:cubicBezTo>
                    <a:lnTo>
                      <a:pt x="254" y="237"/>
                    </a:lnTo>
                    <a:cubicBezTo>
                      <a:pt x="235" y="260"/>
                      <a:pt x="206" y="276"/>
                      <a:pt x="174" y="276"/>
                    </a:cubicBezTo>
                    <a:cubicBezTo>
                      <a:pt x="117" y="276"/>
                      <a:pt x="71" y="230"/>
                      <a:pt x="71" y="174"/>
                    </a:cubicBezTo>
                    <a:cubicBezTo>
                      <a:pt x="71" y="117"/>
                      <a:pt x="117" y="71"/>
                      <a:pt x="174" y="71"/>
                    </a:cubicBezTo>
                    <a:cubicBezTo>
                      <a:pt x="214" y="71"/>
                      <a:pt x="248" y="95"/>
                      <a:pt x="265" y="128"/>
                    </a:cubicBezTo>
                    <a:lnTo>
                      <a:pt x="141" y="128"/>
                    </a:lnTo>
                    <a:lnTo>
                      <a:pt x="141" y="199"/>
                    </a:lnTo>
                    <a:lnTo>
                      <a:pt x="345" y="199"/>
                    </a:ln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6" name="Freeform 41">
                <a:extLst>
                  <a:ext uri="{FF2B5EF4-FFF2-40B4-BE49-F238E27FC236}">
                    <a16:creationId xmlns:a16="http://schemas.microsoft.com/office/drawing/2014/main" id="{7A9A748A-CB83-4144-8F00-BC54166F02B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34061" y="868025"/>
                <a:ext cx="276225" cy="395288"/>
              </a:xfrm>
              <a:custGeom>
                <a:avLst/>
                <a:gdLst>
                  <a:gd name="T0" fmla="*/ 273 w 347"/>
                  <a:gd name="T1" fmla="*/ 0 h 496"/>
                  <a:gd name="T2" fmla="*/ 273 w 347"/>
                  <a:gd name="T3" fmla="*/ 184 h 496"/>
                  <a:gd name="T4" fmla="*/ 173 w 347"/>
                  <a:gd name="T5" fmla="*/ 150 h 496"/>
                  <a:gd name="T6" fmla="*/ 0 w 347"/>
                  <a:gd name="T7" fmla="*/ 323 h 496"/>
                  <a:gd name="T8" fmla="*/ 173 w 347"/>
                  <a:gd name="T9" fmla="*/ 496 h 496"/>
                  <a:gd name="T10" fmla="*/ 273 w 347"/>
                  <a:gd name="T11" fmla="*/ 463 h 496"/>
                  <a:gd name="T12" fmla="*/ 273 w 347"/>
                  <a:gd name="T13" fmla="*/ 492 h 496"/>
                  <a:gd name="T14" fmla="*/ 347 w 347"/>
                  <a:gd name="T15" fmla="*/ 492 h 496"/>
                  <a:gd name="T16" fmla="*/ 347 w 347"/>
                  <a:gd name="T17" fmla="*/ 0 h 496"/>
                  <a:gd name="T18" fmla="*/ 273 w 347"/>
                  <a:gd name="T19" fmla="*/ 0 h 496"/>
                  <a:gd name="T20" fmla="*/ 196 w 347"/>
                  <a:gd name="T21" fmla="*/ 421 h 496"/>
                  <a:gd name="T22" fmla="*/ 173 w 347"/>
                  <a:gd name="T23" fmla="*/ 425 h 496"/>
                  <a:gd name="T24" fmla="*/ 134 w 347"/>
                  <a:gd name="T25" fmla="*/ 416 h 496"/>
                  <a:gd name="T26" fmla="*/ 71 w 347"/>
                  <a:gd name="T27" fmla="*/ 321 h 496"/>
                  <a:gd name="T28" fmla="*/ 173 w 347"/>
                  <a:gd name="T29" fmla="*/ 219 h 496"/>
                  <a:gd name="T30" fmla="*/ 276 w 347"/>
                  <a:gd name="T31" fmla="*/ 321 h 496"/>
                  <a:gd name="T32" fmla="*/ 196 w 347"/>
                  <a:gd name="T33" fmla="*/ 421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7" h="496">
                    <a:moveTo>
                      <a:pt x="273" y="0"/>
                    </a:moveTo>
                    <a:lnTo>
                      <a:pt x="273" y="184"/>
                    </a:lnTo>
                    <a:cubicBezTo>
                      <a:pt x="245" y="163"/>
                      <a:pt x="211" y="150"/>
                      <a:pt x="173" y="150"/>
                    </a:cubicBezTo>
                    <a:cubicBezTo>
                      <a:pt x="77" y="150"/>
                      <a:pt x="0" y="227"/>
                      <a:pt x="0" y="323"/>
                    </a:cubicBezTo>
                    <a:cubicBezTo>
                      <a:pt x="0" y="418"/>
                      <a:pt x="77" y="496"/>
                      <a:pt x="173" y="496"/>
                    </a:cubicBezTo>
                    <a:cubicBezTo>
                      <a:pt x="211" y="496"/>
                      <a:pt x="245" y="484"/>
                      <a:pt x="273" y="463"/>
                    </a:cubicBezTo>
                    <a:lnTo>
                      <a:pt x="273" y="492"/>
                    </a:lnTo>
                    <a:lnTo>
                      <a:pt x="347" y="492"/>
                    </a:lnTo>
                    <a:lnTo>
                      <a:pt x="347" y="0"/>
                    </a:lnTo>
                    <a:lnTo>
                      <a:pt x="273" y="0"/>
                    </a:lnTo>
                    <a:close/>
                    <a:moveTo>
                      <a:pt x="196" y="421"/>
                    </a:moveTo>
                    <a:cubicBezTo>
                      <a:pt x="189" y="423"/>
                      <a:pt x="181" y="425"/>
                      <a:pt x="173" y="425"/>
                    </a:cubicBezTo>
                    <a:cubicBezTo>
                      <a:pt x="159" y="425"/>
                      <a:pt x="146" y="421"/>
                      <a:pt x="134" y="416"/>
                    </a:cubicBezTo>
                    <a:cubicBezTo>
                      <a:pt x="97" y="401"/>
                      <a:pt x="71" y="364"/>
                      <a:pt x="71" y="321"/>
                    </a:cubicBezTo>
                    <a:cubicBezTo>
                      <a:pt x="71" y="265"/>
                      <a:pt x="117" y="219"/>
                      <a:pt x="173" y="219"/>
                    </a:cubicBezTo>
                    <a:cubicBezTo>
                      <a:pt x="230" y="219"/>
                      <a:pt x="276" y="265"/>
                      <a:pt x="276" y="321"/>
                    </a:cubicBezTo>
                    <a:cubicBezTo>
                      <a:pt x="276" y="370"/>
                      <a:pt x="242" y="411"/>
                      <a:pt x="196" y="421"/>
                    </a:cubicBez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7" name="Freeform 42">
                <a:extLst>
                  <a:ext uri="{FF2B5EF4-FFF2-40B4-BE49-F238E27FC236}">
                    <a16:creationId xmlns:a16="http://schemas.microsoft.com/office/drawing/2014/main" id="{6CB0F4B4-6126-44F3-9253-1B13F4FFCE2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868025"/>
                <a:ext cx="277812" cy="395288"/>
              </a:xfrm>
              <a:custGeom>
                <a:avLst/>
                <a:gdLst>
                  <a:gd name="T0" fmla="*/ 175 w 348"/>
                  <a:gd name="T1" fmla="*/ 150 h 496"/>
                  <a:gd name="T2" fmla="*/ 75 w 348"/>
                  <a:gd name="T3" fmla="*/ 184 h 496"/>
                  <a:gd name="T4" fmla="*/ 75 w 348"/>
                  <a:gd name="T5" fmla="*/ 0 h 496"/>
                  <a:gd name="T6" fmla="*/ 0 w 348"/>
                  <a:gd name="T7" fmla="*/ 0 h 496"/>
                  <a:gd name="T8" fmla="*/ 0 w 348"/>
                  <a:gd name="T9" fmla="*/ 492 h 496"/>
                  <a:gd name="T10" fmla="*/ 75 w 348"/>
                  <a:gd name="T11" fmla="*/ 492 h 496"/>
                  <a:gd name="T12" fmla="*/ 75 w 348"/>
                  <a:gd name="T13" fmla="*/ 463 h 496"/>
                  <a:gd name="T14" fmla="*/ 175 w 348"/>
                  <a:gd name="T15" fmla="*/ 496 h 496"/>
                  <a:gd name="T16" fmla="*/ 348 w 348"/>
                  <a:gd name="T17" fmla="*/ 323 h 496"/>
                  <a:gd name="T18" fmla="*/ 175 w 348"/>
                  <a:gd name="T19" fmla="*/ 150 h 496"/>
                  <a:gd name="T20" fmla="*/ 214 w 348"/>
                  <a:gd name="T21" fmla="*/ 416 h 496"/>
                  <a:gd name="T22" fmla="*/ 175 w 348"/>
                  <a:gd name="T23" fmla="*/ 425 h 496"/>
                  <a:gd name="T24" fmla="*/ 152 w 348"/>
                  <a:gd name="T25" fmla="*/ 421 h 496"/>
                  <a:gd name="T26" fmla="*/ 72 w 348"/>
                  <a:gd name="T27" fmla="*/ 321 h 496"/>
                  <a:gd name="T28" fmla="*/ 175 w 348"/>
                  <a:gd name="T29" fmla="*/ 219 h 496"/>
                  <a:gd name="T30" fmla="*/ 277 w 348"/>
                  <a:gd name="T31" fmla="*/ 321 h 496"/>
                  <a:gd name="T32" fmla="*/ 214 w 348"/>
                  <a:gd name="T33" fmla="*/ 41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8" h="496">
                    <a:moveTo>
                      <a:pt x="175" y="150"/>
                    </a:moveTo>
                    <a:cubicBezTo>
                      <a:pt x="137" y="150"/>
                      <a:pt x="103" y="163"/>
                      <a:pt x="75" y="184"/>
                    </a:cubicBezTo>
                    <a:lnTo>
                      <a:pt x="75" y="0"/>
                    </a:lnTo>
                    <a:lnTo>
                      <a:pt x="0" y="0"/>
                    </a:lnTo>
                    <a:lnTo>
                      <a:pt x="0" y="492"/>
                    </a:lnTo>
                    <a:lnTo>
                      <a:pt x="75" y="492"/>
                    </a:lnTo>
                    <a:lnTo>
                      <a:pt x="75" y="463"/>
                    </a:lnTo>
                    <a:cubicBezTo>
                      <a:pt x="103" y="484"/>
                      <a:pt x="137" y="496"/>
                      <a:pt x="175" y="496"/>
                    </a:cubicBezTo>
                    <a:cubicBezTo>
                      <a:pt x="271" y="496"/>
                      <a:pt x="348" y="418"/>
                      <a:pt x="348" y="323"/>
                    </a:cubicBezTo>
                    <a:cubicBezTo>
                      <a:pt x="348" y="227"/>
                      <a:pt x="271" y="150"/>
                      <a:pt x="175" y="150"/>
                    </a:cubicBezTo>
                    <a:close/>
                    <a:moveTo>
                      <a:pt x="214" y="416"/>
                    </a:moveTo>
                    <a:cubicBezTo>
                      <a:pt x="202" y="421"/>
                      <a:pt x="189" y="425"/>
                      <a:pt x="175" y="425"/>
                    </a:cubicBezTo>
                    <a:cubicBezTo>
                      <a:pt x="167" y="425"/>
                      <a:pt x="159" y="423"/>
                      <a:pt x="152" y="421"/>
                    </a:cubicBezTo>
                    <a:cubicBezTo>
                      <a:pt x="106" y="411"/>
                      <a:pt x="72" y="370"/>
                      <a:pt x="72" y="321"/>
                    </a:cubicBezTo>
                    <a:cubicBezTo>
                      <a:pt x="72" y="265"/>
                      <a:pt x="118" y="219"/>
                      <a:pt x="175" y="219"/>
                    </a:cubicBezTo>
                    <a:cubicBezTo>
                      <a:pt x="231" y="219"/>
                      <a:pt x="277" y="265"/>
                      <a:pt x="277" y="321"/>
                    </a:cubicBezTo>
                    <a:cubicBezTo>
                      <a:pt x="277" y="364"/>
                      <a:pt x="251" y="401"/>
                      <a:pt x="214" y="416"/>
                    </a:cubicBez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231" name="Bildplatzhalter 230">
            <a:extLst>
              <a:ext uri="{FF2B5EF4-FFF2-40B4-BE49-F238E27FC236}">
                <a16:creationId xmlns:a16="http://schemas.microsoft.com/office/drawing/2014/main" id="{5093C0B1-AC9E-468C-A24D-AF578C248AE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223200" cy="3024435"/>
          </a:xfrm>
          <a:custGeom>
            <a:avLst/>
            <a:gdLst>
              <a:gd name="connsiteX0" fmla="*/ 143223 w 9215438"/>
              <a:gd name="connsiteY0" fmla="*/ 3024000 h 3024435"/>
              <a:gd name="connsiteX1" fmla="*/ 157623 w 9215438"/>
              <a:gd name="connsiteY1" fmla="*/ 3024000 h 3024435"/>
              <a:gd name="connsiteX2" fmla="*/ 157623 w 9215438"/>
              <a:gd name="connsiteY2" fmla="*/ 3024435 h 3024435"/>
              <a:gd name="connsiteX3" fmla="*/ 143223 w 9215438"/>
              <a:gd name="connsiteY3" fmla="*/ 3024435 h 3024435"/>
              <a:gd name="connsiteX4" fmla="*/ 9063563 w 9215438"/>
              <a:gd name="connsiteY4" fmla="*/ 1800000 h 3024435"/>
              <a:gd name="connsiteX5" fmla="*/ 9071223 w 9215438"/>
              <a:gd name="connsiteY5" fmla="*/ 1800000 h 3024435"/>
              <a:gd name="connsiteX6" fmla="*/ 9071223 w 9215438"/>
              <a:gd name="connsiteY6" fmla="*/ 1800263 h 3024435"/>
              <a:gd name="connsiteX7" fmla="*/ 9063563 w 9215438"/>
              <a:gd name="connsiteY7" fmla="*/ 1800263 h 3024435"/>
              <a:gd name="connsiteX8" fmla="*/ 157348 w 9215438"/>
              <a:gd name="connsiteY8" fmla="*/ 144435 h 3024435"/>
              <a:gd name="connsiteX9" fmla="*/ 157623 w 9215438"/>
              <a:gd name="connsiteY9" fmla="*/ 144435 h 3024435"/>
              <a:gd name="connsiteX10" fmla="*/ 157623 w 9215438"/>
              <a:gd name="connsiteY10" fmla="*/ 158400 h 3024435"/>
              <a:gd name="connsiteX11" fmla="*/ 157348 w 9215438"/>
              <a:gd name="connsiteY11" fmla="*/ 158400 h 3024435"/>
              <a:gd name="connsiteX12" fmla="*/ 9057815 w 9215438"/>
              <a:gd name="connsiteY12" fmla="*/ 144115 h 3024435"/>
              <a:gd name="connsiteX13" fmla="*/ 9057815 w 9215438"/>
              <a:gd name="connsiteY13" fmla="*/ 576115 h 3024435"/>
              <a:gd name="connsiteX14" fmla="*/ 9072215 w 9215438"/>
              <a:gd name="connsiteY14" fmla="*/ 576115 h 3024435"/>
              <a:gd name="connsiteX15" fmla="*/ 9072215 w 9215438"/>
              <a:gd name="connsiteY15" fmla="*/ 144115 h 3024435"/>
              <a:gd name="connsiteX16" fmla="*/ 0 w 9215438"/>
              <a:gd name="connsiteY16" fmla="*/ 0 h 3024435"/>
              <a:gd name="connsiteX17" fmla="*/ 9215438 w 9215438"/>
              <a:gd name="connsiteY17" fmla="*/ 0 h 3024435"/>
              <a:gd name="connsiteX18" fmla="*/ 9215438 w 9215438"/>
              <a:gd name="connsiteY18" fmla="*/ 3024000 h 3024435"/>
              <a:gd name="connsiteX19" fmla="*/ 9077963 w 9215438"/>
              <a:gd name="connsiteY19" fmla="*/ 3024000 h 3024435"/>
              <a:gd name="connsiteX20" fmla="*/ 9077963 w 9215438"/>
              <a:gd name="connsiteY20" fmla="*/ 1800000 h 3024435"/>
              <a:gd name="connsiteX21" fmla="*/ 9071223 w 9215438"/>
              <a:gd name="connsiteY21" fmla="*/ 1800000 h 3024435"/>
              <a:gd name="connsiteX22" fmla="*/ 9071223 w 9215438"/>
              <a:gd name="connsiteY22" fmla="*/ 576263 h 3024435"/>
              <a:gd name="connsiteX23" fmla="*/ 7270998 w 9215438"/>
              <a:gd name="connsiteY23" fmla="*/ 576263 h 3024435"/>
              <a:gd name="connsiteX24" fmla="*/ 7270998 w 9215438"/>
              <a:gd name="connsiteY24" fmla="*/ 1800263 h 3024435"/>
              <a:gd name="connsiteX25" fmla="*/ 9063563 w 9215438"/>
              <a:gd name="connsiteY25" fmla="*/ 1800263 h 3024435"/>
              <a:gd name="connsiteX26" fmla="*/ 9063563 w 9215438"/>
              <a:gd name="connsiteY26" fmla="*/ 3024000 h 3024435"/>
              <a:gd name="connsiteX27" fmla="*/ 157623 w 9215438"/>
              <a:gd name="connsiteY27" fmla="*/ 3024000 h 3024435"/>
              <a:gd name="connsiteX28" fmla="*/ 157623 w 9215438"/>
              <a:gd name="connsiteY28" fmla="*/ 158400 h 3024435"/>
              <a:gd name="connsiteX29" fmla="*/ 9056548 w 9215438"/>
              <a:gd name="connsiteY29" fmla="*/ 158400 h 3024435"/>
              <a:gd name="connsiteX30" fmla="*/ 9056548 w 9215438"/>
              <a:gd name="connsiteY30" fmla="*/ 144000 h 3024435"/>
              <a:gd name="connsiteX31" fmla="*/ 157348 w 9215438"/>
              <a:gd name="connsiteY31" fmla="*/ 144000 h 3024435"/>
              <a:gd name="connsiteX32" fmla="*/ 157348 w 9215438"/>
              <a:gd name="connsiteY32" fmla="*/ 144435 h 3024435"/>
              <a:gd name="connsiteX33" fmla="*/ 143223 w 9215438"/>
              <a:gd name="connsiteY33" fmla="*/ 144435 h 3024435"/>
              <a:gd name="connsiteX34" fmla="*/ 143223 w 9215438"/>
              <a:gd name="connsiteY34" fmla="*/ 3024000 h 3024435"/>
              <a:gd name="connsiteX35" fmla="*/ 0 w 9215438"/>
              <a:gd name="connsiteY35" fmla="*/ 3024000 h 3024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9215438" h="3024435">
                <a:moveTo>
                  <a:pt x="143223" y="3024000"/>
                </a:moveTo>
                <a:lnTo>
                  <a:pt x="157623" y="3024000"/>
                </a:lnTo>
                <a:lnTo>
                  <a:pt x="157623" y="3024435"/>
                </a:lnTo>
                <a:lnTo>
                  <a:pt x="143223" y="3024435"/>
                </a:lnTo>
                <a:close/>
                <a:moveTo>
                  <a:pt x="9063563" y="1800000"/>
                </a:moveTo>
                <a:lnTo>
                  <a:pt x="9071223" y="1800000"/>
                </a:lnTo>
                <a:lnTo>
                  <a:pt x="9071223" y="1800263"/>
                </a:lnTo>
                <a:lnTo>
                  <a:pt x="9063563" y="1800263"/>
                </a:lnTo>
                <a:close/>
                <a:moveTo>
                  <a:pt x="157348" y="144435"/>
                </a:moveTo>
                <a:lnTo>
                  <a:pt x="157623" y="144435"/>
                </a:lnTo>
                <a:lnTo>
                  <a:pt x="157623" y="158400"/>
                </a:lnTo>
                <a:lnTo>
                  <a:pt x="157348" y="158400"/>
                </a:lnTo>
                <a:close/>
                <a:moveTo>
                  <a:pt x="9057815" y="144115"/>
                </a:moveTo>
                <a:lnTo>
                  <a:pt x="9057815" y="576115"/>
                </a:lnTo>
                <a:lnTo>
                  <a:pt x="9072215" y="576115"/>
                </a:lnTo>
                <a:lnTo>
                  <a:pt x="9072215" y="144115"/>
                </a:lnTo>
                <a:close/>
                <a:moveTo>
                  <a:pt x="0" y="0"/>
                </a:moveTo>
                <a:lnTo>
                  <a:pt x="9215438" y="0"/>
                </a:lnTo>
                <a:lnTo>
                  <a:pt x="9215438" y="3024000"/>
                </a:lnTo>
                <a:lnTo>
                  <a:pt x="9077963" y="3024000"/>
                </a:lnTo>
                <a:lnTo>
                  <a:pt x="9077963" y="1800000"/>
                </a:lnTo>
                <a:lnTo>
                  <a:pt x="9071223" y="1800000"/>
                </a:lnTo>
                <a:lnTo>
                  <a:pt x="9071223" y="576263"/>
                </a:lnTo>
                <a:lnTo>
                  <a:pt x="7270998" y="576263"/>
                </a:lnTo>
                <a:lnTo>
                  <a:pt x="7270998" y="1800263"/>
                </a:lnTo>
                <a:lnTo>
                  <a:pt x="9063563" y="1800263"/>
                </a:lnTo>
                <a:lnTo>
                  <a:pt x="9063563" y="3024000"/>
                </a:lnTo>
                <a:lnTo>
                  <a:pt x="157623" y="3024000"/>
                </a:lnTo>
                <a:lnTo>
                  <a:pt x="157623" y="158400"/>
                </a:lnTo>
                <a:lnTo>
                  <a:pt x="9056548" y="158400"/>
                </a:lnTo>
                <a:lnTo>
                  <a:pt x="9056548" y="144000"/>
                </a:lnTo>
                <a:lnTo>
                  <a:pt x="157348" y="144000"/>
                </a:lnTo>
                <a:lnTo>
                  <a:pt x="157348" y="144435"/>
                </a:lnTo>
                <a:lnTo>
                  <a:pt x="143223" y="144435"/>
                </a:lnTo>
                <a:lnTo>
                  <a:pt x="143223" y="3024000"/>
                </a:lnTo>
                <a:lnTo>
                  <a:pt x="0" y="3024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432000" tIns="32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D8F7A42-0CF4-4998-960F-E80D43C7A03A}"/>
              </a:ext>
            </a:extLst>
          </p:cNvPr>
          <p:cNvSpPr/>
          <p:nvPr/>
        </p:nvSpPr>
        <p:spPr bwMode="grayWhite">
          <a:xfrm>
            <a:off x="1" y="3024675"/>
            <a:ext cx="9215438" cy="21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60" dirty="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80B651-FA77-43FF-A552-95A5EF8C9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256" y="3528531"/>
            <a:ext cx="6911579" cy="360000"/>
          </a:xfrm>
        </p:spPr>
        <p:txBody>
          <a:bodyPr wrap="none" lIns="0" tIns="0" rIns="0" bIns="0" anchor="b">
            <a:noAutofit/>
          </a:bodyPr>
          <a:lstStyle>
            <a:lvl1pPr algn="l">
              <a:lnSpc>
                <a:spcPct val="100000"/>
              </a:lnSpc>
              <a:defRPr sz="26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2047FA1-05E6-4914-9E1F-9171B3BD67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256" y="4032611"/>
            <a:ext cx="6911579" cy="576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345578" indent="0" algn="ctr">
              <a:buNone/>
              <a:defRPr sz="1512"/>
            </a:lvl2pPr>
            <a:lvl3pPr marL="691157" indent="0" algn="ctr">
              <a:buNone/>
              <a:defRPr sz="1360"/>
            </a:lvl3pPr>
            <a:lvl4pPr marL="1036735" indent="0" algn="ctr">
              <a:buNone/>
              <a:defRPr sz="1209"/>
            </a:lvl4pPr>
            <a:lvl5pPr marL="1382316" indent="0" algn="ctr">
              <a:buNone/>
              <a:defRPr sz="1209"/>
            </a:lvl5pPr>
            <a:lvl6pPr marL="1727893" indent="0" algn="ctr">
              <a:buNone/>
              <a:defRPr sz="1209"/>
            </a:lvl6pPr>
            <a:lvl7pPr marL="2073473" indent="0" algn="ctr">
              <a:buNone/>
              <a:defRPr sz="1209"/>
            </a:lvl7pPr>
            <a:lvl8pPr marL="2419051" indent="0" algn="ctr">
              <a:buNone/>
              <a:defRPr sz="1209"/>
            </a:lvl8pPr>
            <a:lvl9pPr marL="2764630" indent="0" algn="ctr">
              <a:buNone/>
              <a:defRPr sz="1209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31ADE1F-3339-4E57-AF5F-0ABBE14A423A}"/>
              </a:ext>
            </a:extLst>
          </p:cNvPr>
          <p:cNvSpPr txBox="1"/>
          <p:nvPr/>
        </p:nvSpPr>
        <p:spPr>
          <a:xfrm>
            <a:off x="431799" y="4680000"/>
            <a:ext cx="2880001" cy="216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de-DE" sz="800" dirty="0">
                <a:solidFill>
                  <a:schemeClr val="bg1"/>
                </a:solidFill>
              </a:rPr>
              <a:t>© BDEW Bundesverband der Energie- und Wasserwirtschaft e.V. </a:t>
            </a:r>
            <a:endParaRPr lang="de-DE" sz="1360" dirty="0">
              <a:solidFill>
                <a:schemeClr val="bg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14FA0E42-6739-40CF-8134-93A20DC4BE70}"/>
              </a:ext>
            </a:extLst>
          </p:cNvPr>
          <p:cNvSpPr/>
          <p:nvPr/>
        </p:nvSpPr>
        <p:spPr>
          <a:xfrm>
            <a:off x="149617" y="144115"/>
            <a:ext cx="8928000" cy="4896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36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F49EA0F-470E-4848-8624-5CE19AA0E52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240000" y="4680000"/>
            <a:ext cx="720000" cy="216000"/>
          </a:xfrm>
          <a:noFill/>
        </p:spPr>
        <p:txBody>
          <a:bodyPr wrap="none" lIns="0" tIns="0" rIns="0" bIns="0" rtlCol="0" anchor="ctr" anchorCtr="0">
            <a:noAutofit/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</a:lstStyle>
          <a:p>
            <a:r>
              <a:rPr lang="de-DE"/>
              <a:t>05.12.2025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3EA838E-5213-4879-A2D6-5CD6F8A3B68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 rot="16200000">
            <a:off x="-2540808" y="2412572"/>
            <a:ext cx="4932000" cy="144000"/>
          </a:xfrm>
        </p:spPr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D656861-D621-4470-819F-20325BEF23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 rot="16200000">
            <a:off x="-180793" y="4990705"/>
            <a:ext cx="216000" cy="144000"/>
          </a:xfrm>
        </p:spPr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52EACCB3-6F83-434A-A6F3-B5929EB1E6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655" y="2844981"/>
            <a:ext cx="3024000" cy="144000"/>
          </a:xfrm>
        </p:spPr>
        <p:txBody>
          <a:bodyPr/>
          <a:lstStyle>
            <a:lvl1pPr>
              <a:buNone/>
              <a:defRPr sz="1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de-DE" dirty="0"/>
              <a:t>Quelle hinzufügen</a:t>
            </a:r>
          </a:p>
        </p:txBody>
      </p:sp>
    </p:spTree>
    <p:extLst>
      <p:ext uri="{BB962C8B-B14F-4D97-AF65-F5344CB8AC3E}">
        <p14:creationId xmlns:p14="http://schemas.microsoft.com/office/powerpoint/2010/main" val="578229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05">
          <p15:clr>
            <a:srgbClr val="FBAE40"/>
          </p15:clr>
        </p15:guide>
        <p15:guide id="3" pos="90">
          <p15:clr>
            <a:srgbClr val="FBAE40"/>
          </p15:clr>
        </p15:guide>
        <p15:guide id="4" pos="5715">
          <p15:clr>
            <a:srgbClr val="FBAE40"/>
          </p15:clr>
        </p15:guide>
        <p15:guide id="5" orient="horz" pos="9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80B651-FA77-43FF-A552-95A5EF8C9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255" y="2808515"/>
            <a:ext cx="6480719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2047FA1-05E6-4914-9E1F-9171B3BD67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256" y="3888000"/>
            <a:ext cx="6480000" cy="648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</a:defRPr>
            </a:lvl1pPr>
            <a:lvl2pPr marL="345578" indent="0" algn="ctr">
              <a:buNone/>
              <a:defRPr sz="1512"/>
            </a:lvl2pPr>
            <a:lvl3pPr marL="691157" indent="0" algn="ctr">
              <a:buNone/>
              <a:defRPr sz="1360"/>
            </a:lvl3pPr>
            <a:lvl4pPr marL="1036735" indent="0" algn="ctr">
              <a:buNone/>
              <a:defRPr sz="1209"/>
            </a:lvl4pPr>
            <a:lvl5pPr marL="1382316" indent="0" algn="ctr">
              <a:buNone/>
              <a:defRPr sz="1209"/>
            </a:lvl5pPr>
            <a:lvl6pPr marL="1727893" indent="0" algn="ctr">
              <a:buNone/>
              <a:defRPr sz="1209"/>
            </a:lvl6pPr>
            <a:lvl7pPr marL="2073473" indent="0" algn="ctr">
              <a:buNone/>
              <a:defRPr sz="1209"/>
            </a:lvl7pPr>
            <a:lvl8pPr marL="2419051" indent="0" algn="ctr">
              <a:buNone/>
              <a:defRPr sz="1209"/>
            </a:lvl8pPr>
            <a:lvl9pPr marL="2764630" indent="0" algn="ctr">
              <a:buNone/>
              <a:defRPr sz="1209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2E03B2E-D379-4F2F-B8A8-821AC7247E6E}"/>
              </a:ext>
            </a:extLst>
          </p:cNvPr>
          <p:cNvSpPr/>
          <p:nvPr/>
        </p:nvSpPr>
        <p:spPr>
          <a:xfrm>
            <a:off x="143223" y="144115"/>
            <a:ext cx="8928000" cy="4896000"/>
          </a:xfrm>
          <a:prstGeom prst="rect">
            <a:avLst/>
          </a:prstGeom>
          <a:noFill/>
          <a:ln>
            <a:solidFill>
              <a:srgbClr val="C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36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31ADE1F-3339-4E57-AF5F-0ABBE14A423A}"/>
              </a:ext>
            </a:extLst>
          </p:cNvPr>
          <p:cNvSpPr txBox="1"/>
          <p:nvPr/>
        </p:nvSpPr>
        <p:spPr>
          <a:xfrm>
            <a:off x="431799" y="4680000"/>
            <a:ext cx="2880001" cy="216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de-DE" sz="800" dirty="0">
                <a:solidFill>
                  <a:schemeClr val="accent3"/>
                </a:solidFill>
              </a:rPr>
              <a:t>© BDEW Bundesverband der Energie- und Wasserwirtschaft e.V.</a:t>
            </a:r>
            <a:endParaRPr lang="de-DE" sz="1360" dirty="0">
              <a:solidFill>
                <a:schemeClr val="accent3"/>
              </a:solidFill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6F2CC88-6078-4650-B10F-62DED028F23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71990" y="576162"/>
            <a:ext cx="1800225" cy="1224000"/>
            <a:chOff x="7271990" y="576162"/>
            <a:chExt cx="1800225" cy="1224000"/>
          </a:xfrm>
        </p:grpSpPr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32F28EF8-2B04-45C2-9B26-9510F48E349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71990" y="576162"/>
              <a:ext cx="1800225" cy="1224000"/>
            </a:xfrm>
            <a:prstGeom prst="rect">
              <a:avLst/>
            </a:prstGeom>
            <a:solidFill>
              <a:srgbClr val="C2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94932683-290B-4B67-BDD9-C6197234B468}"/>
                </a:ext>
              </a:extLst>
            </p:cNvPr>
            <p:cNvGrpSpPr/>
            <p:nvPr/>
          </p:nvGrpSpPr>
          <p:grpSpPr bwMode="gray">
            <a:xfrm>
              <a:off x="7538786" y="868025"/>
              <a:ext cx="1244600" cy="646113"/>
              <a:chOff x="7538786" y="868025"/>
              <a:chExt cx="1244600" cy="646113"/>
            </a:xfrm>
          </p:grpSpPr>
          <p:sp>
            <p:nvSpPr>
              <p:cNvPr id="24" name="Freeform 38">
                <a:extLst>
                  <a:ext uri="{FF2B5EF4-FFF2-40B4-BE49-F238E27FC236}">
                    <a16:creationId xmlns:a16="http://schemas.microsoft.com/office/drawing/2014/main" id="{BE818EE1-0E3A-4362-8C48-4CCF6127AF8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1398250"/>
                <a:ext cx="1244600" cy="115888"/>
              </a:xfrm>
              <a:custGeom>
                <a:avLst/>
                <a:gdLst>
                  <a:gd name="T0" fmla="*/ 1559 w 1559"/>
                  <a:gd name="T1" fmla="*/ 104 h 146"/>
                  <a:gd name="T2" fmla="*/ 1471 w 1559"/>
                  <a:gd name="T3" fmla="*/ 48 h 146"/>
                  <a:gd name="T4" fmla="*/ 1472 w 1559"/>
                  <a:gd name="T5" fmla="*/ 114 h 146"/>
                  <a:gd name="T6" fmla="*/ 1518 w 1559"/>
                  <a:gd name="T7" fmla="*/ 114 h 146"/>
                  <a:gd name="T8" fmla="*/ 1433 w 1559"/>
                  <a:gd name="T9" fmla="*/ 74 h 146"/>
                  <a:gd name="T10" fmla="*/ 1431 w 1559"/>
                  <a:gd name="T11" fmla="*/ 92 h 146"/>
                  <a:gd name="T12" fmla="*/ 1332 w 1559"/>
                  <a:gd name="T13" fmla="*/ 75 h 146"/>
                  <a:gd name="T14" fmla="*/ 1332 w 1559"/>
                  <a:gd name="T15" fmla="*/ 75 h 146"/>
                  <a:gd name="T16" fmla="*/ 1304 w 1559"/>
                  <a:gd name="T17" fmla="*/ 2 h 146"/>
                  <a:gd name="T18" fmla="*/ 1303 w 1559"/>
                  <a:gd name="T19" fmla="*/ 108 h 146"/>
                  <a:gd name="T20" fmla="*/ 1232 w 1559"/>
                  <a:gd name="T21" fmla="*/ 51 h 146"/>
                  <a:gd name="T22" fmla="*/ 1231 w 1559"/>
                  <a:gd name="T23" fmla="*/ 115 h 146"/>
                  <a:gd name="T24" fmla="*/ 1265 w 1559"/>
                  <a:gd name="T25" fmla="*/ 80 h 146"/>
                  <a:gd name="T26" fmla="*/ 1145 w 1559"/>
                  <a:gd name="T27" fmla="*/ 11 h 146"/>
                  <a:gd name="T28" fmla="*/ 1061 w 1559"/>
                  <a:gd name="T29" fmla="*/ 92 h 146"/>
                  <a:gd name="T30" fmla="*/ 1044 w 1559"/>
                  <a:gd name="T31" fmla="*/ 37 h 146"/>
                  <a:gd name="T32" fmla="*/ 1008 w 1559"/>
                  <a:gd name="T33" fmla="*/ 56 h 146"/>
                  <a:gd name="T34" fmla="*/ 1051 w 1559"/>
                  <a:gd name="T35" fmla="*/ 54 h 146"/>
                  <a:gd name="T36" fmla="*/ 970 w 1559"/>
                  <a:gd name="T37" fmla="*/ 68 h 146"/>
                  <a:gd name="T38" fmla="*/ 989 w 1559"/>
                  <a:gd name="T39" fmla="*/ 108 h 146"/>
                  <a:gd name="T40" fmla="*/ 990 w 1559"/>
                  <a:gd name="T41" fmla="*/ 74 h 146"/>
                  <a:gd name="T42" fmla="*/ 906 w 1559"/>
                  <a:gd name="T43" fmla="*/ 57 h 146"/>
                  <a:gd name="T44" fmla="*/ 892 w 1559"/>
                  <a:gd name="T45" fmla="*/ 92 h 146"/>
                  <a:gd name="T46" fmla="*/ 911 w 1559"/>
                  <a:gd name="T47" fmla="*/ 91 h 146"/>
                  <a:gd name="T48" fmla="*/ 837 w 1559"/>
                  <a:gd name="T49" fmla="*/ 57 h 146"/>
                  <a:gd name="T50" fmla="*/ 823 w 1559"/>
                  <a:gd name="T51" fmla="*/ 92 h 146"/>
                  <a:gd name="T52" fmla="*/ 843 w 1559"/>
                  <a:gd name="T53" fmla="*/ 91 h 146"/>
                  <a:gd name="T54" fmla="*/ 749 w 1559"/>
                  <a:gd name="T55" fmla="*/ 80 h 146"/>
                  <a:gd name="T56" fmla="*/ 765 w 1559"/>
                  <a:gd name="T57" fmla="*/ 43 h 146"/>
                  <a:gd name="T58" fmla="*/ 749 w 1559"/>
                  <a:gd name="T59" fmla="*/ 61 h 146"/>
                  <a:gd name="T60" fmla="*/ 751 w 1559"/>
                  <a:gd name="T61" fmla="*/ 107 h 146"/>
                  <a:gd name="T62" fmla="*/ 667 w 1559"/>
                  <a:gd name="T63" fmla="*/ 61 h 146"/>
                  <a:gd name="T64" fmla="*/ 613 w 1559"/>
                  <a:gd name="T65" fmla="*/ 61 h 146"/>
                  <a:gd name="T66" fmla="*/ 597 w 1559"/>
                  <a:gd name="T67" fmla="*/ 114 h 146"/>
                  <a:gd name="T68" fmla="*/ 650 w 1559"/>
                  <a:gd name="T69" fmla="*/ 114 h 146"/>
                  <a:gd name="T70" fmla="*/ 512 w 1559"/>
                  <a:gd name="T71" fmla="*/ 104 h 146"/>
                  <a:gd name="T72" fmla="*/ 464 w 1559"/>
                  <a:gd name="T73" fmla="*/ 51 h 146"/>
                  <a:gd name="T74" fmla="*/ 462 w 1559"/>
                  <a:gd name="T75" fmla="*/ 115 h 146"/>
                  <a:gd name="T76" fmla="*/ 496 w 1559"/>
                  <a:gd name="T77" fmla="*/ 80 h 146"/>
                  <a:gd name="T78" fmla="*/ 393 w 1559"/>
                  <a:gd name="T79" fmla="*/ 38 h 146"/>
                  <a:gd name="T80" fmla="*/ 391 w 1559"/>
                  <a:gd name="T81" fmla="*/ 12 h 146"/>
                  <a:gd name="T82" fmla="*/ 326 w 1559"/>
                  <a:gd name="T83" fmla="*/ 75 h 146"/>
                  <a:gd name="T84" fmla="*/ 355 w 1559"/>
                  <a:gd name="T85" fmla="*/ 38 h 146"/>
                  <a:gd name="T86" fmla="*/ 353 w 1559"/>
                  <a:gd name="T87" fmla="*/ 103 h 146"/>
                  <a:gd name="T88" fmla="*/ 310 w 1559"/>
                  <a:gd name="T89" fmla="*/ 122 h 146"/>
                  <a:gd name="T90" fmla="*/ 373 w 1559"/>
                  <a:gd name="T91" fmla="*/ 56 h 146"/>
                  <a:gd name="T92" fmla="*/ 269 w 1559"/>
                  <a:gd name="T93" fmla="*/ 47 h 146"/>
                  <a:gd name="T94" fmla="*/ 270 w 1559"/>
                  <a:gd name="T95" fmla="*/ 114 h 146"/>
                  <a:gd name="T96" fmla="*/ 211 w 1559"/>
                  <a:gd name="T97" fmla="*/ 68 h 146"/>
                  <a:gd name="T98" fmla="*/ 198 w 1559"/>
                  <a:gd name="T99" fmla="*/ 36 h 146"/>
                  <a:gd name="T100" fmla="*/ 200 w 1559"/>
                  <a:gd name="T101" fmla="*/ 100 h 146"/>
                  <a:gd name="T102" fmla="*/ 148 w 1559"/>
                  <a:gd name="T103" fmla="*/ 62 h 146"/>
                  <a:gd name="T104" fmla="*/ 81 w 1559"/>
                  <a:gd name="T105" fmla="*/ 38 h 146"/>
                  <a:gd name="T106" fmla="*/ 119 w 1559"/>
                  <a:gd name="T107" fmla="*/ 54 h 146"/>
                  <a:gd name="T108" fmla="*/ 66 w 1559"/>
                  <a:gd name="T109" fmla="*/ 96 h 146"/>
                  <a:gd name="T110" fmla="*/ 21 w 1559"/>
                  <a:gd name="T111" fmla="*/ 52 h 146"/>
                  <a:gd name="T112" fmla="*/ 0 w 1559"/>
                  <a:gd name="T113" fmla="*/ 11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59" h="146">
                    <a:moveTo>
                      <a:pt x="1559" y="104"/>
                    </a:moveTo>
                    <a:cubicBezTo>
                      <a:pt x="1559" y="98"/>
                      <a:pt x="1556" y="92"/>
                      <a:pt x="1547" y="92"/>
                    </a:cubicBezTo>
                    <a:cubicBezTo>
                      <a:pt x="1539" y="92"/>
                      <a:pt x="1535" y="98"/>
                      <a:pt x="1535" y="104"/>
                    </a:cubicBezTo>
                    <a:cubicBezTo>
                      <a:pt x="1535" y="110"/>
                      <a:pt x="1539" y="116"/>
                      <a:pt x="1547" y="116"/>
                    </a:cubicBezTo>
                    <a:cubicBezTo>
                      <a:pt x="1556" y="116"/>
                      <a:pt x="1559" y="110"/>
                      <a:pt x="1559" y="104"/>
                    </a:cubicBezTo>
                    <a:close/>
                    <a:moveTo>
                      <a:pt x="1518" y="114"/>
                    </a:moveTo>
                    <a:lnTo>
                      <a:pt x="1518" y="62"/>
                    </a:lnTo>
                    <a:cubicBezTo>
                      <a:pt x="1518" y="55"/>
                      <a:pt x="1517" y="49"/>
                      <a:pt x="1514" y="45"/>
                    </a:cubicBezTo>
                    <a:cubicBezTo>
                      <a:pt x="1510" y="39"/>
                      <a:pt x="1504" y="36"/>
                      <a:pt x="1495" y="36"/>
                    </a:cubicBezTo>
                    <a:cubicBezTo>
                      <a:pt x="1485" y="36"/>
                      <a:pt x="1474" y="45"/>
                      <a:pt x="1471" y="48"/>
                    </a:cubicBezTo>
                    <a:cubicBezTo>
                      <a:pt x="1471" y="43"/>
                      <a:pt x="1470" y="38"/>
                      <a:pt x="1470" y="38"/>
                    </a:cubicBezTo>
                    <a:lnTo>
                      <a:pt x="1450" y="38"/>
                    </a:lnTo>
                    <a:cubicBezTo>
                      <a:pt x="1450" y="38"/>
                      <a:pt x="1451" y="47"/>
                      <a:pt x="1451" y="56"/>
                    </a:cubicBezTo>
                    <a:lnTo>
                      <a:pt x="1451" y="114"/>
                    </a:lnTo>
                    <a:lnTo>
                      <a:pt x="1472" y="114"/>
                    </a:lnTo>
                    <a:lnTo>
                      <a:pt x="1472" y="62"/>
                    </a:lnTo>
                    <a:cubicBezTo>
                      <a:pt x="1475" y="59"/>
                      <a:pt x="1482" y="54"/>
                      <a:pt x="1488" y="54"/>
                    </a:cubicBezTo>
                    <a:cubicBezTo>
                      <a:pt x="1493" y="54"/>
                      <a:pt x="1497" y="55"/>
                      <a:pt x="1497" y="64"/>
                    </a:cubicBezTo>
                    <a:lnTo>
                      <a:pt x="1497" y="114"/>
                    </a:lnTo>
                    <a:lnTo>
                      <a:pt x="1518" y="114"/>
                    </a:lnTo>
                    <a:close/>
                    <a:moveTo>
                      <a:pt x="1413" y="68"/>
                    </a:moveTo>
                    <a:lnTo>
                      <a:pt x="1389" y="68"/>
                    </a:lnTo>
                    <a:cubicBezTo>
                      <a:pt x="1389" y="62"/>
                      <a:pt x="1391" y="51"/>
                      <a:pt x="1400" y="51"/>
                    </a:cubicBezTo>
                    <a:cubicBezTo>
                      <a:pt x="1411" y="51"/>
                      <a:pt x="1413" y="62"/>
                      <a:pt x="1413" y="68"/>
                    </a:cubicBezTo>
                    <a:close/>
                    <a:moveTo>
                      <a:pt x="1433" y="74"/>
                    </a:moveTo>
                    <a:cubicBezTo>
                      <a:pt x="1433" y="56"/>
                      <a:pt x="1426" y="36"/>
                      <a:pt x="1400" y="36"/>
                    </a:cubicBezTo>
                    <a:cubicBezTo>
                      <a:pt x="1378" y="36"/>
                      <a:pt x="1367" y="56"/>
                      <a:pt x="1367" y="76"/>
                    </a:cubicBezTo>
                    <a:cubicBezTo>
                      <a:pt x="1367" y="90"/>
                      <a:pt x="1372" y="115"/>
                      <a:pt x="1399" y="115"/>
                    </a:cubicBezTo>
                    <a:cubicBezTo>
                      <a:pt x="1420" y="115"/>
                      <a:pt x="1432" y="108"/>
                      <a:pt x="1432" y="108"/>
                    </a:cubicBezTo>
                    <a:lnTo>
                      <a:pt x="1431" y="92"/>
                    </a:lnTo>
                    <a:cubicBezTo>
                      <a:pt x="1431" y="92"/>
                      <a:pt x="1416" y="100"/>
                      <a:pt x="1402" y="100"/>
                    </a:cubicBezTo>
                    <a:cubicBezTo>
                      <a:pt x="1393" y="100"/>
                      <a:pt x="1389" y="94"/>
                      <a:pt x="1389" y="80"/>
                    </a:cubicBezTo>
                    <a:lnTo>
                      <a:pt x="1433" y="80"/>
                    </a:lnTo>
                    <a:cubicBezTo>
                      <a:pt x="1433" y="80"/>
                      <a:pt x="1433" y="76"/>
                      <a:pt x="1433" y="74"/>
                    </a:cubicBezTo>
                    <a:moveTo>
                      <a:pt x="1332" y="75"/>
                    </a:moveTo>
                    <a:cubicBezTo>
                      <a:pt x="1332" y="93"/>
                      <a:pt x="1326" y="99"/>
                      <a:pt x="1319" y="99"/>
                    </a:cubicBezTo>
                    <a:cubicBezTo>
                      <a:pt x="1316" y="99"/>
                      <a:pt x="1310" y="97"/>
                      <a:pt x="1304" y="94"/>
                    </a:cubicBezTo>
                    <a:lnTo>
                      <a:pt x="1304" y="59"/>
                    </a:lnTo>
                    <a:cubicBezTo>
                      <a:pt x="1310" y="54"/>
                      <a:pt x="1316" y="53"/>
                      <a:pt x="1320" y="53"/>
                    </a:cubicBezTo>
                    <a:cubicBezTo>
                      <a:pt x="1330" y="53"/>
                      <a:pt x="1332" y="67"/>
                      <a:pt x="1332" y="75"/>
                    </a:cubicBezTo>
                    <a:close/>
                    <a:moveTo>
                      <a:pt x="1353" y="76"/>
                    </a:moveTo>
                    <a:cubicBezTo>
                      <a:pt x="1353" y="60"/>
                      <a:pt x="1349" y="36"/>
                      <a:pt x="1324" y="36"/>
                    </a:cubicBezTo>
                    <a:cubicBezTo>
                      <a:pt x="1315" y="36"/>
                      <a:pt x="1306" y="43"/>
                      <a:pt x="1304" y="44"/>
                    </a:cubicBezTo>
                    <a:cubicBezTo>
                      <a:pt x="1304" y="44"/>
                      <a:pt x="1304" y="39"/>
                      <a:pt x="1304" y="36"/>
                    </a:cubicBezTo>
                    <a:lnTo>
                      <a:pt x="1304" y="2"/>
                    </a:lnTo>
                    <a:lnTo>
                      <a:pt x="1284" y="4"/>
                    </a:lnTo>
                    <a:lnTo>
                      <a:pt x="1284" y="98"/>
                    </a:lnTo>
                    <a:cubicBezTo>
                      <a:pt x="1284" y="105"/>
                      <a:pt x="1283" y="114"/>
                      <a:pt x="1283" y="114"/>
                    </a:cubicBezTo>
                    <a:lnTo>
                      <a:pt x="1302" y="114"/>
                    </a:lnTo>
                    <a:cubicBezTo>
                      <a:pt x="1303" y="112"/>
                      <a:pt x="1303" y="109"/>
                      <a:pt x="1303" y="108"/>
                    </a:cubicBezTo>
                    <a:cubicBezTo>
                      <a:pt x="1304" y="109"/>
                      <a:pt x="1313" y="115"/>
                      <a:pt x="1324" y="115"/>
                    </a:cubicBezTo>
                    <a:cubicBezTo>
                      <a:pt x="1342" y="115"/>
                      <a:pt x="1353" y="98"/>
                      <a:pt x="1353" y="76"/>
                    </a:cubicBezTo>
                    <a:moveTo>
                      <a:pt x="1245" y="68"/>
                    </a:moveTo>
                    <a:lnTo>
                      <a:pt x="1221" y="68"/>
                    </a:lnTo>
                    <a:cubicBezTo>
                      <a:pt x="1221" y="62"/>
                      <a:pt x="1223" y="51"/>
                      <a:pt x="1232" y="51"/>
                    </a:cubicBezTo>
                    <a:cubicBezTo>
                      <a:pt x="1243" y="51"/>
                      <a:pt x="1245" y="62"/>
                      <a:pt x="1245" y="68"/>
                    </a:cubicBezTo>
                    <a:close/>
                    <a:moveTo>
                      <a:pt x="1265" y="74"/>
                    </a:moveTo>
                    <a:cubicBezTo>
                      <a:pt x="1265" y="56"/>
                      <a:pt x="1258" y="36"/>
                      <a:pt x="1232" y="36"/>
                    </a:cubicBezTo>
                    <a:cubicBezTo>
                      <a:pt x="1210" y="36"/>
                      <a:pt x="1199" y="56"/>
                      <a:pt x="1199" y="76"/>
                    </a:cubicBezTo>
                    <a:cubicBezTo>
                      <a:pt x="1199" y="90"/>
                      <a:pt x="1204" y="115"/>
                      <a:pt x="1231" y="115"/>
                    </a:cubicBezTo>
                    <a:cubicBezTo>
                      <a:pt x="1251" y="115"/>
                      <a:pt x="1264" y="108"/>
                      <a:pt x="1264" y="108"/>
                    </a:cubicBezTo>
                    <a:lnTo>
                      <a:pt x="1263" y="92"/>
                    </a:lnTo>
                    <a:cubicBezTo>
                      <a:pt x="1263" y="92"/>
                      <a:pt x="1248" y="100"/>
                      <a:pt x="1234" y="100"/>
                    </a:cubicBezTo>
                    <a:cubicBezTo>
                      <a:pt x="1225" y="100"/>
                      <a:pt x="1221" y="94"/>
                      <a:pt x="1221" y="80"/>
                    </a:cubicBezTo>
                    <a:lnTo>
                      <a:pt x="1265" y="80"/>
                    </a:lnTo>
                    <a:cubicBezTo>
                      <a:pt x="1265" y="80"/>
                      <a:pt x="1265" y="76"/>
                      <a:pt x="1265" y="74"/>
                    </a:cubicBezTo>
                    <a:moveTo>
                      <a:pt x="1188" y="114"/>
                    </a:moveTo>
                    <a:lnTo>
                      <a:pt x="1188" y="95"/>
                    </a:lnTo>
                    <a:lnTo>
                      <a:pt x="1145" y="95"/>
                    </a:lnTo>
                    <a:lnTo>
                      <a:pt x="1145" y="11"/>
                    </a:lnTo>
                    <a:lnTo>
                      <a:pt x="1124" y="11"/>
                    </a:lnTo>
                    <a:lnTo>
                      <a:pt x="1124" y="114"/>
                    </a:lnTo>
                    <a:lnTo>
                      <a:pt x="1188" y="114"/>
                    </a:lnTo>
                    <a:close/>
                    <a:moveTo>
                      <a:pt x="1073" y="104"/>
                    </a:moveTo>
                    <a:cubicBezTo>
                      <a:pt x="1073" y="98"/>
                      <a:pt x="1069" y="92"/>
                      <a:pt x="1061" y="92"/>
                    </a:cubicBezTo>
                    <a:cubicBezTo>
                      <a:pt x="1053" y="92"/>
                      <a:pt x="1048" y="98"/>
                      <a:pt x="1048" y="104"/>
                    </a:cubicBezTo>
                    <a:cubicBezTo>
                      <a:pt x="1048" y="110"/>
                      <a:pt x="1053" y="116"/>
                      <a:pt x="1061" y="116"/>
                    </a:cubicBezTo>
                    <a:cubicBezTo>
                      <a:pt x="1069" y="116"/>
                      <a:pt x="1073" y="110"/>
                      <a:pt x="1073" y="104"/>
                    </a:cubicBezTo>
                    <a:close/>
                    <a:moveTo>
                      <a:pt x="1053" y="38"/>
                    </a:moveTo>
                    <a:cubicBezTo>
                      <a:pt x="1053" y="38"/>
                      <a:pt x="1052" y="37"/>
                      <a:pt x="1044" y="37"/>
                    </a:cubicBezTo>
                    <a:cubicBezTo>
                      <a:pt x="1038" y="37"/>
                      <a:pt x="1032" y="42"/>
                      <a:pt x="1029" y="45"/>
                    </a:cubicBezTo>
                    <a:cubicBezTo>
                      <a:pt x="1029" y="46"/>
                      <a:pt x="1028" y="47"/>
                      <a:pt x="1028" y="47"/>
                    </a:cubicBezTo>
                    <a:cubicBezTo>
                      <a:pt x="1028" y="43"/>
                      <a:pt x="1027" y="38"/>
                      <a:pt x="1027" y="38"/>
                    </a:cubicBezTo>
                    <a:lnTo>
                      <a:pt x="1007" y="38"/>
                    </a:lnTo>
                    <a:cubicBezTo>
                      <a:pt x="1007" y="38"/>
                      <a:pt x="1008" y="47"/>
                      <a:pt x="1008" y="56"/>
                    </a:cubicBezTo>
                    <a:lnTo>
                      <a:pt x="1008" y="114"/>
                    </a:lnTo>
                    <a:lnTo>
                      <a:pt x="1029" y="114"/>
                    </a:lnTo>
                    <a:lnTo>
                      <a:pt x="1029" y="60"/>
                    </a:lnTo>
                    <a:cubicBezTo>
                      <a:pt x="1034" y="56"/>
                      <a:pt x="1039" y="53"/>
                      <a:pt x="1041" y="53"/>
                    </a:cubicBezTo>
                    <a:cubicBezTo>
                      <a:pt x="1047" y="53"/>
                      <a:pt x="1051" y="54"/>
                      <a:pt x="1051" y="54"/>
                    </a:cubicBezTo>
                    <a:lnTo>
                      <a:pt x="1053" y="38"/>
                    </a:lnTo>
                    <a:close/>
                    <a:moveTo>
                      <a:pt x="970" y="68"/>
                    </a:moveTo>
                    <a:lnTo>
                      <a:pt x="946" y="68"/>
                    </a:lnTo>
                    <a:cubicBezTo>
                      <a:pt x="946" y="62"/>
                      <a:pt x="948" y="51"/>
                      <a:pt x="958" y="51"/>
                    </a:cubicBezTo>
                    <a:cubicBezTo>
                      <a:pt x="968" y="51"/>
                      <a:pt x="970" y="62"/>
                      <a:pt x="970" y="68"/>
                    </a:cubicBezTo>
                    <a:close/>
                    <a:moveTo>
                      <a:pt x="990" y="74"/>
                    </a:moveTo>
                    <a:cubicBezTo>
                      <a:pt x="990" y="56"/>
                      <a:pt x="983" y="36"/>
                      <a:pt x="958" y="36"/>
                    </a:cubicBezTo>
                    <a:cubicBezTo>
                      <a:pt x="935" y="36"/>
                      <a:pt x="925" y="56"/>
                      <a:pt x="925" y="76"/>
                    </a:cubicBezTo>
                    <a:cubicBezTo>
                      <a:pt x="925" y="90"/>
                      <a:pt x="929" y="115"/>
                      <a:pt x="956" y="115"/>
                    </a:cubicBezTo>
                    <a:cubicBezTo>
                      <a:pt x="977" y="115"/>
                      <a:pt x="989" y="108"/>
                      <a:pt x="989" y="108"/>
                    </a:cubicBezTo>
                    <a:lnTo>
                      <a:pt x="988" y="92"/>
                    </a:lnTo>
                    <a:cubicBezTo>
                      <a:pt x="988" y="92"/>
                      <a:pt x="974" y="100"/>
                      <a:pt x="960" y="100"/>
                    </a:cubicBezTo>
                    <a:cubicBezTo>
                      <a:pt x="951" y="100"/>
                      <a:pt x="946" y="94"/>
                      <a:pt x="946" y="80"/>
                    </a:cubicBezTo>
                    <a:lnTo>
                      <a:pt x="990" y="80"/>
                    </a:lnTo>
                    <a:cubicBezTo>
                      <a:pt x="990" y="80"/>
                      <a:pt x="990" y="76"/>
                      <a:pt x="990" y="74"/>
                    </a:cubicBezTo>
                    <a:moveTo>
                      <a:pt x="911" y="91"/>
                    </a:moveTo>
                    <a:cubicBezTo>
                      <a:pt x="911" y="73"/>
                      <a:pt x="894" y="70"/>
                      <a:pt x="882" y="64"/>
                    </a:cubicBezTo>
                    <a:cubicBezTo>
                      <a:pt x="879" y="63"/>
                      <a:pt x="876" y="61"/>
                      <a:pt x="876" y="58"/>
                    </a:cubicBezTo>
                    <a:cubicBezTo>
                      <a:pt x="876" y="56"/>
                      <a:pt x="878" y="52"/>
                      <a:pt x="884" y="52"/>
                    </a:cubicBezTo>
                    <a:cubicBezTo>
                      <a:pt x="894" y="52"/>
                      <a:pt x="906" y="57"/>
                      <a:pt x="906" y="57"/>
                    </a:cubicBezTo>
                    <a:lnTo>
                      <a:pt x="907" y="40"/>
                    </a:lnTo>
                    <a:cubicBezTo>
                      <a:pt x="907" y="40"/>
                      <a:pt x="897" y="36"/>
                      <a:pt x="885" y="36"/>
                    </a:cubicBezTo>
                    <a:cubicBezTo>
                      <a:pt x="870" y="36"/>
                      <a:pt x="857" y="44"/>
                      <a:pt x="857" y="60"/>
                    </a:cubicBezTo>
                    <a:cubicBezTo>
                      <a:pt x="857" y="77"/>
                      <a:pt x="874" y="80"/>
                      <a:pt x="885" y="85"/>
                    </a:cubicBezTo>
                    <a:cubicBezTo>
                      <a:pt x="889" y="87"/>
                      <a:pt x="892" y="89"/>
                      <a:pt x="892" y="92"/>
                    </a:cubicBezTo>
                    <a:cubicBezTo>
                      <a:pt x="892" y="96"/>
                      <a:pt x="888" y="99"/>
                      <a:pt x="883" y="99"/>
                    </a:cubicBezTo>
                    <a:cubicBezTo>
                      <a:pt x="872" y="99"/>
                      <a:pt x="857" y="91"/>
                      <a:pt x="857" y="91"/>
                    </a:cubicBezTo>
                    <a:lnTo>
                      <a:pt x="856" y="110"/>
                    </a:lnTo>
                    <a:cubicBezTo>
                      <a:pt x="856" y="110"/>
                      <a:pt x="869" y="116"/>
                      <a:pt x="883" y="116"/>
                    </a:cubicBezTo>
                    <a:cubicBezTo>
                      <a:pt x="898" y="116"/>
                      <a:pt x="911" y="108"/>
                      <a:pt x="911" y="91"/>
                    </a:cubicBezTo>
                    <a:close/>
                    <a:moveTo>
                      <a:pt x="843" y="91"/>
                    </a:moveTo>
                    <a:cubicBezTo>
                      <a:pt x="843" y="73"/>
                      <a:pt x="826" y="70"/>
                      <a:pt x="813" y="64"/>
                    </a:cubicBezTo>
                    <a:cubicBezTo>
                      <a:pt x="810" y="63"/>
                      <a:pt x="807" y="61"/>
                      <a:pt x="807" y="58"/>
                    </a:cubicBezTo>
                    <a:cubicBezTo>
                      <a:pt x="807" y="56"/>
                      <a:pt x="809" y="52"/>
                      <a:pt x="815" y="52"/>
                    </a:cubicBezTo>
                    <a:cubicBezTo>
                      <a:pt x="825" y="52"/>
                      <a:pt x="837" y="57"/>
                      <a:pt x="837" y="57"/>
                    </a:cubicBezTo>
                    <a:lnTo>
                      <a:pt x="838" y="40"/>
                    </a:lnTo>
                    <a:cubicBezTo>
                      <a:pt x="838" y="40"/>
                      <a:pt x="828" y="36"/>
                      <a:pt x="816" y="36"/>
                    </a:cubicBezTo>
                    <a:cubicBezTo>
                      <a:pt x="801" y="36"/>
                      <a:pt x="788" y="44"/>
                      <a:pt x="788" y="60"/>
                    </a:cubicBezTo>
                    <a:cubicBezTo>
                      <a:pt x="788" y="77"/>
                      <a:pt x="805" y="80"/>
                      <a:pt x="817" y="85"/>
                    </a:cubicBezTo>
                    <a:cubicBezTo>
                      <a:pt x="820" y="87"/>
                      <a:pt x="823" y="89"/>
                      <a:pt x="823" y="92"/>
                    </a:cubicBezTo>
                    <a:cubicBezTo>
                      <a:pt x="823" y="96"/>
                      <a:pt x="819" y="99"/>
                      <a:pt x="815" y="99"/>
                    </a:cubicBezTo>
                    <a:cubicBezTo>
                      <a:pt x="803" y="99"/>
                      <a:pt x="788" y="91"/>
                      <a:pt x="788" y="91"/>
                    </a:cubicBezTo>
                    <a:lnTo>
                      <a:pt x="787" y="110"/>
                    </a:lnTo>
                    <a:cubicBezTo>
                      <a:pt x="787" y="110"/>
                      <a:pt x="800" y="116"/>
                      <a:pt x="814" y="116"/>
                    </a:cubicBezTo>
                    <a:cubicBezTo>
                      <a:pt x="829" y="116"/>
                      <a:pt x="843" y="108"/>
                      <a:pt x="843" y="91"/>
                    </a:cubicBezTo>
                    <a:close/>
                    <a:moveTo>
                      <a:pt x="749" y="94"/>
                    </a:moveTo>
                    <a:cubicBezTo>
                      <a:pt x="747" y="96"/>
                      <a:pt x="742" y="100"/>
                      <a:pt x="736" y="100"/>
                    </a:cubicBezTo>
                    <a:cubicBezTo>
                      <a:pt x="731" y="100"/>
                      <a:pt x="729" y="95"/>
                      <a:pt x="729" y="91"/>
                    </a:cubicBezTo>
                    <a:cubicBezTo>
                      <a:pt x="729" y="89"/>
                      <a:pt x="730" y="87"/>
                      <a:pt x="732" y="85"/>
                    </a:cubicBezTo>
                    <a:cubicBezTo>
                      <a:pt x="736" y="81"/>
                      <a:pt x="746" y="80"/>
                      <a:pt x="749" y="80"/>
                    </a:cubicBezTo>
                    <a:lnTo>
                      <a:pt x="749" y="94"/>
                    </a:lnTo>
                    <a:close/>
                    <a:moveTo>
                      <a:pt x="771" y="114"/>
                    </a:moveTo>
                    <a:cubicBezTo>
                      <a:pt x="771" y="114"/>
                      <a:pt x="770" y="107"/>
                      <a:pt x="770" y="98"/>
                    </a:cubicBezTo>
                    <a:lnTo>
                      <a:pt x="770" y="62"/>
                    </a:lnTo>
                    <a:cubicBezTo>
                      <a:pt x="770" y="54"/>
                      <a:pt x="769" y="48"/>
                      <a:pt x="765" y="43"/>
                    </a:cubicBezTo>
                    <a:cubicBezTo>
                      <a:pt x="761" y="39"/>
                      <a:pt x="755" y="36"/>
                      <a:pt x="745" y="36"/>
                    </a:cubicBezTo>
                    <a:cubicBezTo>
                      <a:pt x="729" y="36"/>
                      <a:pt x="714" y="43"/>
                      <a:pt x="714" y="43"/>
                    </a:cubicBezTo>
                    <a:lnTo>
                      <a:pt x="715" y="59"/>
                    </a:lnTo>
                    <a:cubicBezTo>
                      <a:pt x="720" y="56"/>
                      <a:pt x="731" y="52"/>
                      <a:pt x="741" y="52"/>
                    </a:cubicBezTo>
                    <a:cubicBezTo>
                      <a:pt x="747" y="52"/>
                      <a:pt x="749" y="55"/>
                      <a:pt x="749" y="61"/>
                    </a:cubicBezTo>
                    <a:lnTo>
                      <a:pt x="749" y="69"/>
                    </a:lnTo>
                    <a:cubicBezTo>
                      <a:pt x="740" y="69"/>
                      <a:pt x="725" y="70"/>
                      <a:pt x="716" y="77"/>
                    </a:cubicBezTo>
                    <a:cubicBezTo>
                      <a:pt x="711" y="81"/>
                      <a:pt x="709" y="85"/>
                      <a:pt x="709" y="92"/>
                    </a:cubicBezTo>
                    <a:cubicBezTo>
                      <a:pt x="709" y="102"/>
                      <a:pt x="714" y="115"/>
                      <a:pt x="730" y="115"/>
                    </a:cubicBezTo>
                    <a:cubicBezTo>
                      <a:pt x="741" y="115"/>
                      <a:pt x="751" y="107"/>
                      <a:pt x="751" y="107"/>
                    </a:cubicBezTo>
                    <a:cubicBezTo>
                      <a:pt x="751" y="110"/>
                      <a:pt x="751" y="114"/>
                      <a:pt x="751" y="114"/>
                    </a:cubicBezTo>
                    <a:lnTo>
                      <a:pt x="771" y="114"/>
                    </a:lnTo>
                    <a:close/>
                    <a:moveTo>
                      <a:pt x="701" y="12"/>
                    </a:moveTo>
                    <a:lnTo>
                      <a:pt x="679" y="11"/>
                    </a:lnTo>
                    <a:lnTo>
                      <a:pt x="667" y="61"/>
                    </a:lnTo>
                    <a:cubicBezTo>
                      <a:pt x="665" y="68"/>
                      <a:pt x="663" y="83"/>
                      <a:pt x="662" y="86"/>
                    </a:cubicBezTo>
                    <a:cubicBezTo>
                      <a:pt x="662" y="83"/>
                      <a:pt x="659" y="68"/>
                      <a:pt x="658" y="61"/>
                    </a:cubicBezTo>
                    <a:lnTo>
                      <a:pt x="646" y="11"/>
                    </a:lnTo>
                    <a:lnTo>
                      <a:pt x="624" y="11"/>
                    </a:lnTo>
                    <a:lnTo>
                      <a:pt x="613" y="61"/>
                    </a:lnTo>
                    <a:cubicBezTo>
                      <a:pt x="611" y="68"/>
                      <a:pt x="609" y="82"/>
                      <a:pt x="608" y="85"/>
                    </a:cubicBezTo>
                    <a:cubicBezTo>
                      <a:pt x="608" y="82"/>
                      <a:pt x="605" y="68"/>
                      <a:pt x="604" y="61"/>
                    </a:cubicBezTo>
                    <a:lnTo>
                      <a:pt x="592" y="10"/>
                    </a:lnTo>
                    <a:lnTo>
                      <a:pt x="570" y="11"/>
                    </a:lnTo>
                    <a:lnTo>
                      <a:pt x="597" y="114"/>
                    </a:lnTo>
                    <a:lnTo>
                      <a:pt x="619" y="114"/>
                    </a:lnTo>
                    <a:lnTo>
                      <a:pt x="630" y="67"/>
                    </a:lnTo>
                    <a:cubicBezTo>
                      <a:pt x="631" y="59"/>
                      <a:pt x="635" y="40"/>
                      <a:pt x="635" y="40"/>
                    </a:cubicBezTo>
                    <a:cubicBezTo>
                      <a:pt x="635" y="40"/>
                      <a:pt x="638" y="59"/>
                      <a:pt x="640" y="67"/>
                    </a:cubicBezTo>
                    <a:lnTo>
                      <a:pt x="650" y="114"/>
                    </a:lnTo>
                    <a:lnTo>
                      <a:pt x="673" y="114"/>
                    </a:lnTo>
                    <a:lnTo>
                      <a:pt x="701" y="12"/>
                    </a:lnTo>
                    <a:close/>
                    <a:moveTo>
                      <a:pt x="537" y="104"/>
                    </a:moveTo>
                    <a:cubicBezTo>
                      <a:pt x="537" y="98"/>
                      <a:pt x="533" y="92"/>
                      <a:pt x="525" y="92"/>
                    </a:cubicBezTo>
                    <a:cubicBezTo>
                      <a:pt x="516" y="92"/>
                      <a:pt x="512" y="98"/>
                      <a:pt x="512" y="104"/>
                    </a:cubicBezTo>
                    <a:cubicBezTo>
                      <a:pt x="512" y="110"/>
                      <a:pt x="516" y="116"/>
                      <a:pt x="525" y="116"/>
                    </a:cubicBezTo>
                    <a:cubicBezTo>
                      <a:pt x="533" y="116"/>
                      <a:pt x="537" y="110"/>
                      <a:pt x="537" y="104"/>
                    </a:cubicBezTo>
                    <a:close/>
                    <a:moveTo>
                      <a:pt x="476" y="68"/>
                    </a:moveTo>
                    <a:lnTo>
                      <a:pt x="452" y="68"/>
                    </a:lnTo>
                    <a:cubicBezTo>
                      <a:pt x="452" y="62"/>
                      <a:pt x="454" y="51"/>
                      <a:pt x="464" y="51"/>
                    </a:cubicBezTo>
                    <a:cubicBezTo>
                      <a:pt x="474" y="51"/>
                      <a:pt x="476" y="62"/>
                      <a:pt x="476" y="68"/>
                    </a:cubicBezTo>
                    <a:moveTo>
                      <a:pt x="496" y="74"/>
                    </a:moveTo>
                    <a:cubicBezTo>
                      <a:pt x="496" y="56"/>
                      <a:pt x="489" y="36"/>
                      <a:pt x="464" y="36"/>
                    </a:cubicBezTo>
                    <a:cubicBezTo>
                      <a:pt x="441" y="36"/>
                      <a:pt x="431" y="56"/>
                      <a:pt x="431" y="76"/>
                    </a:cubicBezTo>
                    <a:cubicBezTo>
                      <a:pt x="431" y="90"/>
                      <a:pt x="435" y="115"/>
                      <a:pt x="462" y="115"/>
                    </a:cubicBezTo>
                    <a:cubicBezTo>
                      <a:pt x="483" y="115"/>
                      <a:pt x="495" y="108"/>
                      <a:pt x="495" y="108"/>
                    </a:cubicBezTo>
                    <a:lnTo>
                      <a:pt x="494" y="92"/>
                    </a:lnTo>
                    <a:cubicBezTo>
                      <a:pt x="494" y="92"/>
                      <a:pt x="480" y="100"/>
                      <a:pt x="466" y="100"/>
                    </a:cubicBezTo>
                    <a:cubicBezTo>
                      <a:pt x="457" y="100"/>
                      <a:pt x="452" y="94"/>
                      <a:pt x="452" y="80"/>
                    </a:cubicBezTo>
                    <a:lnTo>
                      <a:pt x="496" y="80"/>
                    </a:lnTo>
                    <a:cubicBezTo>
                      <a:pt x="496" y="80"/>
                      <a:pt x="496" y="76"/>
                      <a:pt x="496" y="74"/>
                    </a:cubicBezTo>
                    <a:moveTo>
                      <a:pt x="413" y="114"/>
                    </a:moveTo>
                    <a:lnTo>
                      <a:pt x="413" y="54"/>
                    </a:lnTo>
                    <a:cubicBezTo>
                      <a:pt x="413" y="48"/>
                      <a:pt x="412" y="38"/>
                      <a:pt x="412" y="38"/>
                    </a:cubicBezTo>
                    <a:lnTo>
                      <a:pt x="393" y="38"/>
                    </a:lnTo>
                    <a:lnTo>
                      <a:pt x="393" y="114"/>
                    </a:lnTo>
                    <a:lnTo>
                      <a:pt x="413" y="114"/>
                    </a:lnTo>
                    <a:close/>
                    <a:moveTo>
                      <a:pt x="416" y="12"/>
                    </a:moveTo>
                    <a:cubicBezTo>
                      <a:pt x="416" y="6"/>
                      <a:pt x="411" y="0"/>
                      <a:pt x="403" y="0"/>
                    </a:cubicBezTo>
                    <a:cubicBezTo>
                      <a:pt x="395" y="0"/>
                      <a:pt x="391" y="6"/>
                      <a:pt x="391" y="12"/>
                    </a:cubicBezTo>
                    <a:cubicBezTo>
                      <a:pt x="391" y="18"/>
                      <a:pt x="395" y="24"/>
                      <a:pt x="403" y="24"/>
                    </a:cubicBezTo>
                    <a:cubicBezTo>
                      <a:pt x="411" y="24"/>
                      <a:pt x="416" y="18"/>
                      <a:pt x="416" y="12"/>
                    </a:cubicBezTo>
                    <a:close/>
                    <a:moveTo>
                      <a:pt x="353" y="88"/>
                    </a:moveTo>
                    <a:cubicBezTo>
                      <a:pt x="347" y="95"/>
                      <a:pt x="341" y="97"/>
                      <a:pt x="337" y="97"/>
                    </a:cubicBezTo>
                    <a:cubicBezTo>
                      <a:pt x="328" y="97"/>
                      <a:pt x="326" y="83"/>
                      <a:pt x="326" y="75"/>
                    </a:cubicBezTo>
                    <a:cubicBezTo>
                      <a:pt x="326" y="66"/>
                      <a:pt x="327" y="53"/>
                      <a:pt x="339" y="53"/>
                    </a:cubicBezTo>
                    <a:cubicBezTo>
                      <a:pt x="343" y="53"/>
                      <a:pt x="347" y="54"/>
                      <a:pt x="353" y="57"/>
                    </a:cubicBezTo>
                    <a:lnTo>
                      <a:pt x="353" y="88"/>
                    </a:lnTo>
                    <a:close/>
                    <a:moveTo>
                      <a:pt x="375" y="38"/>
                    </a:moveTo>
                    <a:lnTo>
                      <a:pt x="355" y="38"/>
                    </a:lnTo>
                    <a:cubicBezTo>
                      <a:pt x="355" y="38"/>
                      <a:pt x="354" y="40"/>
                      <a:pt x="354" y="42"/>
                    </a:cubicBezTo>
                    <a:cubicBezTo>
                      <a:pt x="352" y="41"/>
                      <a:pt x="345" y="36"/>
                      <a:pt x="336" y="36"/>
                    </a:cubicBezTo>
                    <a:cubicBezTo>
                      <a:pt x="315" y="36"/>
                      <a:pt x="305" y="53"/>
                      <a:pt x="305" y="75"/>
                    </a:cubicBezTo>
                    <a:cubicBezTo>
                      <a:pt x="305" y="90"/>
                      <a:pt x="310" y="114"/>
                      <a:pt x="332" y="114"/>
                    </a:cubicBezTo>
                    <a:cubicBezTo>
                      <a:pt x="344" y="114"/>
                      <a:pt x="352" y="105"/>
                      <a:pt x="353" y="103"/>
                    </a:cubicBezTo>
                    <a:cubicBezTo>
                      <a:pt x="353" y="103"/>
                      <a:pt x="353" y="108"/>
                      <a:pt x="353" y="110"/>
                    </a:cubicBezTo>
                    <a:lnTo>
                      <a:pt x="353" y="115"/>
                    </a:lnTo>
                    <a:cubicBezTo>
                      <a:pt x="353" y="117"/>
                      <a:pt x="353" y="119"/>
                      <a:pt x="352" y="121"/>
                    </a:cubicBezTo>
                    <a:cubicBezTo>
                      <a:pt x="351" y="125"/>
                      <a:pt x="347" y="128"/>
                      <a:pt x="338" y="128"/>
                    </a:cubicBezTo>
                    <a:cubicBezTo>
                      <a:pt x="323" y="128"/>
                      <a:pt x="310" y="122"/>
                      <a:pt x="310" y="122"/>
                    </a:cubicBezTo>
                    <a:lnTo>
                      <a:pt x="309" y="140"/>
                    </a:lnTo>
                    <a:cubicBezTo>
                      <a:pt x="309" y="140"/>
                      <a:pt x="320" y="146"/>
                      <a:pt x="338" y="146"/>
                    </a:cubicBezTo>
                    <a:cubicBezTo>
                      <a:pt x="357" y="146"/>
                      <a:pt x="369" y="139"/>
                      <a:pt x="373" y="125"/>
                    </a:cubicBezTo>
                    <a:cubicBezTo>
                      <a:pt x="373" y="122"/>
                      <a:pt x="373" y="116"/>
                      <a:pt x="373" y="112"/>
                    </a:cubicBezTo>
                    <a:lnTo>
                      <a:pt x="373" y="56"/>
                    </a:lnTo>
                    <a:cubicBezTo>
                      <a:pt x="373" y="47"/>
                      <a:pt x="375" y="38"/>
                      <a:pt x="375" y="38"/>
                    </a:cubicBezTo>
                    <a:moveTo>
                      <a:pt x="294" y="38"/>
                    </a:moveTo>
                    <a:cubicBezTo>
                      <a:pt x="294" y="38"/>
                      <a:pt x="293" y="37"/>
                      <a:pt x="285" y="37"/>
                    </a:cubicBezTo>
                    <a:cubicBezTo>
                      <a:pt x="279" y="37"/>
                      <a:pt x="273" y="42"/>
                      <a:pt x="270" y="45"/>
                    </a:cubicBezTo>
                    <a:cubicBezTo>
                      <a:pt x="270" y="46"/>
                      <a:pt x="269" y="47"/>
                      <a:pt x="269" y="47"/>
                    </a:cubicBezTo>
                    <a:cubicBezTo>
                      <a:pt x="269" y="43"/>
                      <a:pt x="268" y="38"/>
                      <a:pt x="268" y="38"/>
                    </a:cubicBezTo>
                    <a:lnTo>
                      <a:pt x="248" y="38"/>
                    </a:lnTo>
                    <a:cubicBezTo>
                      <a:pt x="248" y="38"/>
                      <a:pt x="249" y="47"/>
                      <a:pt x="249" y="56"/>
                    </a:cubicBezTo>
                    <a:lnTo>
                      <a:pt x="249" y="114"/>
                    </a:lnTo>
                    <a:lnTo>
                      <a:pt x="270" y="114"/>
                    </a:lnTo>
                    <a:lnTo>
                      <a:pt x="270" y="60"/>
                    </a:lnTo>
                    <a:cubicBezTo>
                      <a:pt x="275" y="56"/>
                      <a:pt x="279" y="53"/>
                      <a:pt x="282" y="53"/>
                    </a:cubicBezTo>
                    <a:cubicBezTo>
                      <a:pt x="288" y="53"/>
                      <a:pt x="292" y="54"/>
                      <a:pt x="292" y="54"/>
                    </a:cubicBezTo>
                    <a:lnTo>
                      <a:pt x="294" y="38"/>
                    </a:lnTo>
                    <a:close/>
                    <a:moveTo>
                      <a:pt x="211" y="68"/>
                    </a:moveTo>
                    <a:lnTo>
                      <a:pt x="187" y="68"/>
                    </a:lnTo>
                    <a:cubicBezTo>
                      <a:pt x="187" y="62"/>
                      <a:pt x="189" y="51"/>
                      <a:pt x="198" y="51"/>
                    </a:cubicBezTo>
                    <a:cubicBezTo>
                      <a:pt x="209" y="51"/>
                      <a:pt x="211" y="62"/>
                      <a:pt x="211" y="68"/>
                    </a:cubicBezTo>
                    <a:moveTo>
                      <a:pt x="231" y="74"/>
                    </a:moveTo>
                    <a:cubicBezTo>
                      <a:pt x="231" y="56"/>
                      <a:pt x="224" y="36"/>
                      <a:pt x="198" y="36"/>
                    </a:cubicBezTo>
                    <a:cubicBezTo>
                      <a:pt x="176" y="36"/>
                      <a:pt x="165" y="56"/>
                      <a:pt x="165" y="76"/>
                    </a:cubicBezTo>
                    <a:cubicBezTo>
                      <a:pt x="165" y="90"/>
                      <a:pt x="170" y="115"/>
                      <a:pt x="197" y="115"/>
                    </a:cubicBezTo>
                    <a:cubicBezTo>
                      <a:pt x="218" y="115"/>
                      <a:pt x="230" y="108"/>
                      <a:pt x="230" y="108"/>
                    </a:cubicBezTo>
                    <a:lnTo>
                      <a:pt x="229" y="92"/>
                    </a:lnTo>
                    <a:cubicBezTo>
                      <a:pt x="229" y="92"/>
                      <a:pt x="214" y="100"/>
                      <a:pt x="200" y="100"/>
                    </a:cubicBezTo>
                    <a:cubicBezTo>
                      <a:pt x="191" y="100"/>
                      <a:pt x="187" y="94"/>
                      <a:pt x="187" y="80"/>
                    </a:cubicBezTo>
                    <a:lnTo>
                      <a:pt x="231" y="80"/>
                    </a:lnTo>
                    <a:cubicBezTo>
                      <a:pt x="231" y="80"/>
                      <a:pt x="231" y="76"/>
                      <a:pt x="231" y="74"/>
                    </a:cubicBezTo>
                    <a:moveTo>
                      <a:pt x="148" y="114"/>
                    </a:moveTo>
                    <a:lnTo>
                      <a:pt x="148" y="62"/>
                    </a:lnTo>
                    <a:cubicBezTo>
                      <a:pt x="148" y="55"/>
                      <a:pt x="147" y="49"/>
                      <a:pt x="144" y="45"/>
                    </a:cubicBezTo>
                    <a:cubicBezTo>
                      <a:pt x="141" y="39"/>
                      <a:pt x="135" y="36"/>
                      <a:pt x="126" y="36"/>
                    </a:cubicBezTo>
                    <a:cubicBezTo>
                      <a:pt x="115" y="36"/>
                      <a:pt x="104" y="45"/>
                      <a:pt x="101" y="48"/>
                    </a:cubicBezTo>
                    <a:cubicBezTo>
                      <a:pt x="101" y="43"/>
                      <a:pt x="101" y="38"/>
                      <a:pt x="101" y="38"/>
                    </a:cubicBezTo>
                    <a:lnTo>
                      <a:pt x="81" y="38"/>
                    </a:lnTo>
                    <a:cubicBezTo>
                      <a:pt x="81" y="38"/>
                      <a:pt x="82" y="47"/>
                      <a:pt x="82" y="56"/>
                    </a:cubicBezTo>
                    <a:lnTo>
                      <a:pt x="82" y="114"/>
                    </a:lnTo>
                    <a:lnTo>
                      <a:pt x="102" y="114"/>
                    </a:lnTo>
                    <a:lnTo>
                      <a:pt x="102" y="62"/>
                    </a:lnTo>
                    <a:cubicBezTo>
                      <a:pt x="105" y="59"/>
                      <a:pt x="112" y="54"/>
                      <a:pt x="119" y="54"/>
                    </a:cubicBezTo>
                    <a:cubicBezTo>
                      <a:pt x="124" y="54"/>
                      <a:pt x="128" y="55"/>
                      <a:pt x="128" y="64"/>
                    </a:cubicBezTo>
                    <a:lnTo>
                      <a:pt x="128" y="114"/>
                    </a:lnTo>
                    <a:lnTo>
                      <a:pt x="148" y="114"/>
                    </a:lnTo>
                    <a:close/>
                    <a:moveTo>
                      <a:pt x="66" y="114"/>
                    </a:moveTo>
                    <a:lnTo>
                      <a:pt x="66" y="96"/>
                    </a:lnTo>
                    <a:lnTo>
                      <a:pt x="21" y="96"/>
                    </a:lnTo>
                    <a:lnTo>
                      <a:pt x="21" y="69"/>
                    </a:lnTo>
                    <a:lnTo>
                      <a:pt x="57" y="69"/>
                    </a:lnTo>
                    <a:lnTo>
                      <a:pt x="57" y="52"/>
                    </a:lnTo>
                    <a:lnTo>
                      <a:pt x="21" y="52"/>
                    </a:lnTo>
                    <a:lnTo>
                      <a:pt x="21" y="29"/>
                    </a:lnTo>
                    <a:lnTo>
                      <a:pt x="62" y="29"/>
                    </a:lnTo>
                    <a:lnTo>
                      <a:pt x="64" y="11"/>
                    </a:lnTo>
                    <a:lnTo>
                      <a:pt x="0" y="11"/>
                    </a:lnTo>
                    <a:lnTo>
                      <a:pt x="0" y="114"/>
                    </a:lnTo>
                    <a:lnTo>
                      <a:pt x="66" y="1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5" name="Freeform 39">
                <a:extLst>
                  <a:ext uri="{FF2B5EF4-FFF2-40B4-BE49-F238E27FC236}">
                    <a16:creationId xmlns:a16="http://schemas.microsoft.com/office/drawing/2014/main" id="{CDC0C4A8-EAED-4205-AB22-3CC884A28E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29374" y="990263"/>
                <a:ext cx="354012" cy="273050"/>
              </a:xfrm>
              <a:custGeom>
                <a:avLst/>
                <a:gdLst>
                  <a:gd name="T0" fmla="*/ 0 w 443"/>
                  <a:gd name="T1" fmla="*/ 0 h 341"/>
                  <a:gd name="T2" fmla="*/ 0 w 443"/>
                  <a:gd name="T3" fmla="*/ 217 h 341"/>
                  <a:gd name="T4" fmla="*/ 131 w 443"/>
                  <a:gd name="T5" fmla="*/ 341 h 341"/>
                  <a:gd name="T6" fmla="*/ 222 w 443"/>
                  <a:gd name="T7" fmla="*/ 300 h 341"/>
                  <a:gd name="T8" fmla="*/ 313 w 443"/>
                  <a:gd name="T9" fmla="*/ 341 h 341"/>
                  <a:gd name="T10" fmla="*/ 443 w 443"/>
                  <a:gd name="T11" fmla="*/ 217 h 341"/>
                  <a:gd name="T12" fmla="*/ 443 w 443"/>
                  <a:gd name="T13" fmla="*/ 0 h 341"/>
                  <a:gd name="T14" fmla="*/ 365 w 443"/>
                  <a:gd name="T15" fmla="*/ 0 h 341"/>
                  <a:gd name="T16" fmla="*/ 365 w 443"/>
                  <a:gd name="T17" fmla="*/ 219 h 341"/>
                  <a:gd name="T18" fmla="*/ 313 w 443"/>
                  <a:gd name="T19" fmla="*/ 268 h 341"/>
                  <a:gd name="T20" fmla="*/ 261 w 443"/>
                  <a:gd name="T21" fmla="*/ 219 h 341"/>
                  <a:gd name="T22" fmla="*/ 261 w 443"/>
                  <a:gd name="T23" fmla="*/ 0 h 341"/>
                  <a:gd name="T24" fmla="*/ 183 w 443"/>
                  <a:gd name="T25" fmla="*/ 0 h 341"/>
                  <a:gd name="T26" fmla="*/ 183 w 443"/>
                  <a:gd name="T27" fmla="*/ 219 h 341"/>
                  <a:gd name="T28" fmla="*/ 131 w 443"/>
                  <a:gd name="T29" fmla="*/ 268 h 341"/>
                  <a:gd name="T30" fmla="*/ 79 w 443"/>
                  <a:gd name="T31" fmla="*/ 219 h 341"/>
                  <a:gd name="T32" fmla="*/ 79 w 443"/>
                  <a:gd name="T33" fmla="*/ 0 h 341"/>
                  <a:gd name="T34" fmla="*/ 0 w 443"/>
                  <a:gd name="T35" fmla="*/ 0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3" h="341">
                    <a:moveTo>
                      <a:pt x="0" y="0"/>
                    </a:moveTo>
                    <a:lnTo>
                      <a:pt x="0" y="217"/>
                    </a:lnTo>
                    <a:cubicBezTo>
                      <a:pt x="0" y="285"/>
                      <a:pt x="59" y="341"/>
                      <a:pt x="131" y="341"/>
                    </a:cubicBezTo>
                    <a:cubicBezTo>
                      <a:pt x="165" y="341"/>
                      <a:pt x="205" y="322"/>
                      <a:pt x="222" y="300"/>
                    </a:cubicBezTo>
                    <a:cubicBezTo>
                      <a:pt x="239" y="322"/>
                      <a:pt x="279" y="341"/>
                      <a:pt x="313" y="341"/>
                    </a:cubicBezTo>
                    <a:cubicBezTo>
                      <a:pt x="385" y="341"/>
                      <a:pt x="443" y="285"/>
                      <a:pt x="443" y="217"/>
                    </a:cubicBezTo>
                    <a:lnTo>
                      <a:pt x="443" y="0"/>
                    </a:lnTo>
                    <a:lnTo>
                      <a:pt x="365" y="0"/>
                    </a:lnTo>
                    <a:lnTo>
                      <a:pt x="365" y="219"/>
                    </a:lnTo>
                    <a:cubicBezTo>
                      <a:pt x="365" y="246"/>
                      <a:pt x="342" y="268"/>
                      <a:pt x="313" y="268"/>
                    </a:cubicBezTo>
                    <a:cubicBezTo>
                      <a:pt x="285" y="268"/>
                      <a:pt x="261" y="246"/>
                      <a:pt x="261" y="219"/>
                    </a:cubicBezTo>
                    <a:lnTo>
                      <a:pt x="261" y="0"/>
                    </a:lnTo>
                    <a:lnTo>
                      <a:pt x="183" y="0"/>
                    </a:lnTo>
                    <a:lnTo>
                      <a:pt x="183" y="219"/>
                    </a:lnTo>
                    <a:cubicBezTo>
                      <a:pt x="183" y="246"/>
                      <a:pt x="159" y="268"/>
                      <a:pt x="131" y="268"/>
                    </a:cubicBezTo>
                    <a:cubicBezTo>
                      <a:pt x="102" y="268"/>
                      <a:pt x="79" y="246"/>
                      <a:pt x="79" y="219"/>
                    </a:cubicBez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6" name="Freeform 40">
                <a:extLst>
                  <a:ext uri="{FF2B5EF4-FFF2-40B4-BE49-F238E27FC236}">
                    <a16:creationId xmlns:a16="http://schemas.microsoft.com/office/drawing/2014/main" id="{9495E6D8-0469-4EC8-B276-494CBFBC12D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30924" y="982325"/>
                <a:ext cx="276225" cy="277813"/>
              </a:xfrm>
              <a:custGeom>
                <a:avLst/>
                <a:gdLst>
                  <a:gd name="T0" fmla="*/ 345 w 347"/>
                  <a:gd name="T1" fmla="*/ 199 h 348"/>
                  <a:gd name="T2" fmla="*/ 347 w 347"/>
                  <a:gd name="T3" fmla="*/ 174 h 348"/>
                  <a:gd name="T4" fmla="*/ 174 w 347"/>
                  <a:gd name="T5" fmla="*/ 0 h 348"/>
                  <a:gd name="T6" fmla="*/ 0 w 347"/>
                  <a:gd name="T7" fmla="*/ 174 h 348"/>
                  <a:gd name="T8" fmla="*/ 174 w 347"/>
                  <a:gd name="T9" fmla="*/ 348 h 348"/>
                  <a:gd name="T10" fmla="*/ 336 w 347"/>
                  <a:gd name="T11" fmla="*/ 237 h 348"/>
                  <a:gd name="T12" fmla="*/ 254 w 347"/>
                  <a:gd name="T13" fmla="*/ 237 h 348"/>
                  <a:gd name="T14" fmla="*/ 174 w 347"/>
                  <a:gd name="T15" fmla="*/ 276 h 348"/>
                  <a:gd name="T16" fmla="*/ 71 w 347"/>
                  <a:gd name="T17" fmla="*/ 174 h 348"/>
                  <a:gd name="T18" fmla="*/ 174 w 347"/>
                  <a:gd name="T19" fmla="*/ 71 h 348"/>
                  <a:gd name="T20" fmla="*/ 265 w 347"/>
                  <a:gd name="T21" fmla="*/ 128 h 348"/>
                  <a:gd name="T22" fmla="*/ 141 w 347"/>
                  <a:gd name="T23" fmla="*/ 128 h 348"/>
                  <a:gd name="T24" fmla="*/ 141 w 347"/>
                  <a:gd name="T25" fmla="*/ 199 h 348"/>
                  <a:gd name="T26" fmla="*/ 345 w 347"/>
                  <a:gd name="T27" fmla="*/ 199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7" h="348">
                    <a:moveTo>
                      <a:pt x="345" y="199"/>
                    </a:moveTo>
                    <a:cubicBezTo>
                      <a:pt x="347" y="191"/>
                      <a:pt x="347" y="183"/>
                      <a:pt x="347" y="174"/>
                    </a:cubicBezTo>
                    <a:cubicBezTo>
                      <a:pt x="347" y="78"/>
                      <a:pt x="270" y="0"/>
                      <a:pt x="174" y="0"/>
                    </a:cubicBezTo>
                    <a:cubicBezTo>
                      <a:pt x="78" y="0"/>
                      <a:pt x="0" y="78"/>
                      <a:pt x="0" y="174"/>
                    </a:cubicBezTo>
                    <a:cubicBezTo>
                      <a:pt x="0" y="270"/>
                      <a:pt x="78" y="348"/>
                      <a:pt x="174" y="348"/>
                    </a:cubicBezTo>
                    <a:cubicBezTo>
                      <a:pt x="248" y="348"/>
                      <a:pt x="310" y="301"/>
                      <a:pt x="336" y="237"/>
                    </a:cubicBezTo>
                    <a:lnTo>
                      <a:pt x="254" y="237"/>
                    </a:lnTo>
                    <a:cubicBezTo>
                      <a:pt x="235" y="260"/>
                      <a:pt x="206" y="276"/>
                      <a:pt x="174" y="276"/>
                    </a:cubicBezTo>
                    <a:cubicBezTo>
                      <a:pt x="117" y="276"/>
                      <a:pt x="71" y="230"/>
                      <a:pt x="71" y="174"/>
                    </a:cubicBezTo>
                    <a:cubicBezTo>
                      <a:pt x="71" y="117"/>
                      <a:pt x="117" y="71"/>
                      <a:pt x="174" y="71"/>
                    </a:cubicBezTo>
                    <a:cubicBezTo>
                      <a:pt x="214" y="71"/>
                      <a:pt x="248" y="95"/>
                      <a:pt x="265" y="128"/>
                    </a:cubicBezTo>
                    <a:lnTo>
                      <a:pt x="141" y="128"/>
                    </a:lnTo>
                    <a:lnTo>
                      <a:pt x="141" y="199"/>
                    </a:lnTo>
                    <a:lnTo>
                      <a:pt x="345" y="19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" name="Freeform 41">
                <a:extLst>
                  <a:ext uri="{FF2B5EF4-FFF2-40B4-BE49-F238E27FC236}">
                    <a16:creationId xmlns:a16="http://schemas.microsoft.com/office/drawing/2014/main" id="{B98C966D-3E44-4F27-A531-F53705858AA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34061" y="868025"/>
                <a:ext cx="276225" cy="395288"/>
              </a:xfrm>
              <a:custGeom>
                <a:avLst/>
                <a:gdLst>
                  <a:gd name="T0" fmla="*/ 273 w 347"/>
                  <a:gd name="T1" fmla="*/ 0 h 496"/>
                  <a:gd name="T2" fmla="*/ 273 w 347"/>
                  <a:gd name="T3" fmla="*/ 184 h 496"/>
                  <a:gd name="T4" fmla="*/ 173 w 347"/>
                  <a:gd name="T5" fmla="*/ 150 h 496"/>
                  <a:gd name="T6" fmla="*/ 0 w 347"/>
                  <a:gd name="T7" fmla="*/ 323 h 496"/>
                  <a:gd name="T8" fmla="*/ 173 w 347"/>
                  <a:gd name="T9" fmla="*/ 496 h 496"/>
                  <a:gd name="T10" fmla="*/ 273 w 347"/>
                  <a:gd name="T11" fmla="*/ 463 h 496"/>
                  <a:gd name="T12" fmla="*/ 273 w 347"/>
                  <a:gd name="T13" fmla="*/ 492 h 496"/>
                  <a:gd name="T14" fmla="*/ 347 w 347"/>
                  <a:gd name="T15" fmla="*/ 492 h 496"/>
                  <a:gd name="T16" fmla="*/ 347 w 347"/>
                  <a:gd name="T17" fmla="*/ 0 h 496"/>
                  <a:gd name="T18" fmla="*/ 273 w 347"/>
                  <a:gd name="T19" fmla="*/ 0 h 496"/>
                  <a:gd name="T20" fmla="*/ 196 w 347"/>
                  <a:gd name="T21" fmla="*/ 421 h 496"/>
                  <a:gd name="T22" fmla="*/ 173 w 347"/>
                  <a:gd name="T23" fmla="*/ 425 h 496"/>
                  <a:gd name="T24" fmla="*/ 134 w 347"/>
                  <a:gd name="T25" fmla="*/ 416 h 496"/>
                  <a:gd name="T26" fmla="*/ 71 w 347"/>
                  <a:gd name="T27" fmla="*/ 321 h 496"/>
                  <a:gd name="T28" fmla="*/ 173 w 347"/>
                  <a:gd name="T29" fmla="*/ 219 h 496"/>
                  <a:gd name="T30" fmla="*/ 276 w 347"/>
                  <a:gd name="T31" fmla="*/ 321 h 496"/>
                  <a:gd name="T32" fmla="*/ 196 w 347"/>
                  <a:gd name="T33" fmla="*/ 421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7" h="496">
                    <a:moveTo>
                      <a:pt x="273" y="0"/>
                    </a:moveTo>
                    <a:lnTo>
                      <a:pt x="273" y="184"/>
                    </a:lnTo>
                    <a:cubicBezTo>
                      <a:pt x="245" y="163"/>
                      <a:pt x="211" y="150"/>
                      <a:pt x="173" y="150"/>
                    </a:cubicBezTo>
                    <a:cubicBezTo>
                      <a:pt x="77" y="150"/>
                      <a:pt x="0" y="227"/>
                      <a:pt x="0" y="323"/>
                    </a:cubicBezTo>
                    <a:cubicBezTo>
                      <a:pt x="0" y="418"/>
                      <a:pt x="77" y="496"/>
                      <a:pt x="173" y="496"/>
                    </a:cubicBezTo>
                    <a:cubicBezTo>
                      <a:pt x="211" y="496"/>
                      <a:pt x="245" y="484"/>
                      <a:pt x="273" y="463"/>
                    </a:cubicBezTo>
                    <a:lnTo>
                      <a:pt x="273" y="492"/>
                    </a:lnTo>
                    <a:lnTo>
                      <a:pt x="347" y="492"/>
                    </a:lnTo>
                    <a:lnTo>
                      <a:pt x="347" y="0"/>
                    </a:lnTo>
                    <a:lnTo>
                      <a:pt x="273" y="0"/>
                    </a:lnTo>
                    <a:close/>
                    <a:moveTo>
                      <a:pt x="196" y="421"/>
                    </a:moveTo>
                    <a:cubicBezTo>
                      <a:pt x="189" y="423"/>
                      <a:pt x="181" y="425"/>
                      <a:pt x="173" y="425"/>
                    </a:cubicBezTo>
                    <a:cubicBezTo>
                      <a:pt x="159" y="425"/>
                      <a:pt x="146" y="421"/>
                      <a:pt x="134" y="416"/>
                    </a:cubicBezTo>
                    <a:cubicBezTo>
                      <a:pt x="97" y="401"/>
                      <a:pt x="71" y="364"/>
                      <a:pt x="71" y="321"/>
                    </a:cubicBezTo>
                    <a:cubicBezTo>
                      <a:pt x="71" y="265"/>
                      <a:pt x="117" y="219"/>
                      <a:pt x="173" y="219"/>
                    </a:cubicBezTo>
                    <a:cubicBezTo>
                      <a:pt x="230" y="219"/>
                      <a:pt x="276" y="265"/>
                      <a:pt x="276" y="321"/>
                    </a:cubicBezTo>
                    <a:cubicBezTo>
                      <a:pt x="276" y="370"/>
                      <a:pt x="242" y="411"/>
                      <a:pt x="196" y="42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8" name="Freeform 42">
                <a:extLst>
                  <a:ext uri="{FF2B5EF4-FFF2-40B4-BE49-F238E27FC236}">
                    <a16:creationId xmlns:a16="http://schemas.microsoft.com/office/drawing/2014/main" id="{A173408B-6BBB-44D4-A307-C06A5BDEEB9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868025"/>
                <a:ext cx="277812" cy="395288"/>
              </a:xfrm>
              <a:custGeom>
                <a:avLst/>
                <a:gdLst>
                  <a:gd name="T0" fmla="*/ 175 w 348"/>
                  <a:gd name="T1" fmla="*/ 150 h 496"/>
                  <a:gd name="T2" fmla="*/ 75 w 348"/>
                  <a:gd name="T3" fmla="*/ 184 h 496"/>
                  <a:gd name="T4" fmla="*/ 75 w 348"/>
                  <a:gd name="T5" fmla="*/ 0 h 496"/>
                  <a:gd name="T6" fmla="*/ 0 w 348"/>
                  <a:gd name="T7" fmla="*/ 0 h 496"/>
                  <a:gd name="T8" fmla="*/ 0 w 348"/>
                  <a:gd name="T9" fmla="*/ 492 h 496"/>
                  <a:gd name="T10" fmla="*/ 75 w 348"/>
                  <a:gd name="T11" fmla="*/ 492 h 496"/>
                  <a:gd name="T12" fmla="*/ 75 w 348"/>
                  <a:gd name="T13" fmla="*/ 463 h 496"/>
                  <a:gd name="T14" fmla="*/ 175 w 348"/>
                  <a:gd name="T15" fmla="*/ 496 h 496"/>
                  <a:gd name="T16" fmla="*/ 348 w 348"/>
                  <a:gd name="T17" fmla="*/ 323 h 496"/>
                  <a:gd name="T18" fmla="*/ 175 w 348"/>
                  <a:gd name="T19" fmla="*/ 150 h 496"/>
                  <a:gd name="T20" fmla="*/ 214 w 348"/>
                  <a:gd name="T21" fmla="*/ 416 h 496"/>
                  <a:gd name="T22" fmla="*/ 175 w 348"/>
                  <a:gd name="T23" fmla="*/ 425 h 496"/>
                  <a:gd name="T24" fmla="*/ 152 w 348"/>
                  <a:gd name="T25" fmla="*/ 421 h 496"/>
                  <a:gd name="T26" fmla="*/ 72 w 348"/>
                  <a:gd name="T27" fmla="*/ 321 h 496"/>
                  <a:gd name="T28" fmla="*/ 175 w 348"/>
                  <a:gd name="T29" fmla="*/ 219 h 496"/>
                  <a:gd name="T30" fmla="*/ 277 w 348"/>
                  <a:gd name="T31" fmla="*/ 321 h 496"/>
                  <a:gd name="T32" fmla="*/ 214 w 348"/>
                  <a:gd name="T33" fmla="*/ 41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8" h="496">
                    <a:moveTo>
                      <a:pt x="175" y="150"/>
                    </a:moveTo>
                    <a:cubicBezTo>
                      <a:pt x="137" y="150"/>
                      <a:pt x="103" y="163"/>
                      <a:pt x="75" y="184"/>
                    </a:cubicBezTo>
                    <a:lnTo>
                      <a:pt x="75" y="0"/>
                    </a:lnTo>
                    <a:lnTo>
                      <a:pt x="0" y="0"/>
                    </a:lnTo>
                    <a:lnTo>
                      <a:pt x="0" y="492"/>
                    </a:lnTo>
                    <a:lnTo>
                      <a:pt x="75" y="492"/>
                    </a:lnTo>
                    <a:lnTo>
                      <a:pt x="75" y="463"/>
                    </a:lnTo>
                    <a:cubicBezTo>
                      <a:pt x="103" y="484"/>
                      <a:pt x="137" y="496"/>
                      <a:pt x="175" y="496"/>
                    </a:cubicBezTo>
                    <a:cubicBezTo>
                      <a:pt x="271" y="496"/>
                      <a:pt x="348" y="418"/>
                      <a:pt x="348" y="323"/>
                    </a:cubicBezTo>
                    <a:cubicBezTo>
                      <a:pt x="348" y="227"/>
                      <a:pt x="271" y="150"/>
                      <a:pt x="175" y="150"/>
                    </a:cubicBezTo>
                    <a:close/>
                    <a:moveTo>
                      <a:pt x="214" y="416"/>
                    </a:moveTo>
                    <a:cubicBezTo>
                      <a:pt x="202" y="421"/>
                      <a:pt x="189" y="425"/>
                      <a:pt x="175" y="425"/>
                    </a:cubicBezTo>
                    <a:cubicBezTo>
                      <a:pt x="167" y="425"/>
                      <a:pt x="159" y="423"/>
                      <a:pt x="152" y="421"/>
                    </a:cubicBezTo>
                    <a:cubicBezTo>
                      <a:pt x="106" y="411"/>
                      <a:pt x="72" y="370"/>
                      <a:pt x="72" y="321"/>
                    </a:cubicBezTo>
                    <a:cubicBezTo>
                      <a:pt x="72" y="265"/>
                      <a:pt x="118" y="219"/>
                      <a:pt x="175" y="219"/>
                    </a:cubicBezTo>
                    <a:cubicBezTo>
                      <a:pt x="231" y="219"/>
                      <a:pt x="277" y="265"/>
                      <a:pt x="277" y="321"/>
                    </a:cubicBezTo>
                    <a:cubicBezTo>
                      <a:pt x="277" y="364"/>
                      <a:pt x="251" y="401"/>
                      <a:pt x="214" y="4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22" name="Datumsplatzhalter 3">
            <a:extLst>
              <a:ext uri="{FF2B5EF4-FFF2-40B4-BE49-F238E27FC236}">
                <a16:creationId xmlns:a16="http://schemas.microsoft.com/office/drawing/2014/main" id="{1E301F60-41B8-4FF3-BE32-26DFD0EEC4F6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240000" y="4680000"/>
            <a:ext cx="720000" cy="216000"/>
          </a:xfrm>
        </p:spPr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E010B886-F4E7-420A-84AB-1CD1B39C08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 rot="16200000">
            <a:off x="-2304794" y="2160000"/>
            <a:ext cx="4464000" cy="144000"/>
          </a:xfrm>
        </p:spPr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ECC6CEC-AE1E-414D-A76F-ECA365E7AACC}"/>
              </a:ext>
            </a:extLst>
          </p:cNvPr>
          <p:cNvSpPr/>
          <p:nvPr/>
        </p:nvSpPr>
        <p:spPr>
          <a:xfrm>
            <a:off x="143223" y="144115"/>
            <a:ext cx="8928000" cy="4896000"/>
          </a:xfrm>
          <a:prstGeom prst="rect">
            <a:avLst/>
          </a:prstGeom>
          <a:noFill/>
          <a:ln>
            <a:solidFill>
              <a:srgbClr val="C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360"/>
          </a:p>
        </p:txBody>
      </p:sp>
    </p:spTree>
    <p:extLst>
      <p:ext uri="{BB962C8B-B14F-4D97-AF65-F5344CB8AC3E}">
        <p14:creationId xmlns:p14="http://schemas.microsoft.com/office/powerpoint/2010/main" val="2690126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90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renn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B7B1C7-ECAC-4ABD-89EE-B8EB28BAC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808000"/>
            <a:ext cx="6192000" cy="86400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90000"/>
              </a:lnSpc>
              <a:defRPr sz="44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333626-529A-4399-8CFD-780BFF8EB0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3888603"/>
            <a:ext cx="6192000" cy="64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A2C687E-C0DD-4B55-8E06-A4E29A0AA4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1255" y="4680000"/>
            <a:ext cx="504000" cy="144000"/>
          </a:xfrm>
        </p:spPr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CE447B3-1D9E-42C0-90FF-2C7936C17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55975" y="4680000"/>
            <a:ext cx="4968000" cy="144000"/>
          </a:xfrm>
        </p:spPr>
        <p:txBody>
          <a:bodyPr lIns="0"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8BC806-EFFB-4381-8642-8E13EA13F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23343" y="4680000"/>
            <a:ext cx="432000" cy="144000"/>
          </a:xfrm>
        </p:spPr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A2D23D7-6AD0-43B7-B038-34AC9047DEA6}"/>
              </a:ext>
            </a:extLst>
          </p:cNvPr>
          <p:cNvSpPr/>
          <p:nvPr/>
        </p:nvSpPr>
        <p:spPr>
          <a:xfrm>
            <a:off x="143223" y="144115"/>
            <a:ext cx="8928000" cy="48960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36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5F4B214D-B22B-4357-A7F8-C6D19E668AD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71990" y="576162"/>
            <a:ext cx="1800225" cy="1224000"/>
            <a:chOff x="7271990" y="576162"/>
            <a:chExt cx="1800225" cy="1224000"/>
          </a:xfrm>
        </p:grpSpPr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2D655FC1-3977-429F-B6AC-5E6CF09E1BA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71990" y="576162"/>
              <a:ext cx="1800225" cy="1224000"/>
            </a:xfrm>
            <a:prstGeom prst="rect">
              <a:avLst/>
            </a:prstGeom>
            <a:solidFill>
              <a:srgbClr val="C2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93AA864C-15C1-434A-9403-4C92A806295B}"/>
                </a:ext>
              </a:extLst>
            </p:cNvPr>
            <p:cNvGrpSpPr/>
            <p:nvPr/>
          </p:nvGrpSpPr>
          <p:grpSpPr bwMode="gray">
            <a:xfrm>
              <a:off x="7538786" y="868025"/>
              <a:ext cx="1244600" cy="646113"/>
              <a:chOff x="7538786" y="868025"/>
              <a:chExt cx="1244600" cy="646113"/>
            </a:xfrm>
          </p:grpSpPr>
          <p:sp>
            <p:nvSpPr>
              <p:cNvPr id="18" name="Freeform 38">
                <a:extLst>
                  <a:ext uri="{FF2B5EF4-FFF2-40B4-BE49-F238E27FC236}">
                    <a16:creationId xmlns:a16="http://schemas.microsoft.com/office/drawing/2014/main" id="{4A1BB83E-FF50-42A6-9E47-43656823DDB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1398250"/>
                <a:ext cx="1244600" cy="115888"/>
              </a:xfrm>
              <a:custGeom>
                <a:avLst/>
                <a:gdLst>
                  <a:gd name="T0" fmla="*/ 1559 w 1559"/>
                  <a:gd name="T1" fmla="*/ 104 h 146"/>
                  <a:gd name="T2" fmla="*/ 1471 w 1559"/>
                  <a:gd name="T3" fmla="*/ 48 h 146"/>
                  <a:gd name="T4" fmla="*/ 1472 w 1559"/>
                  <a:gd name="T5" fmla="*/ 114 h 146"/>
                  <a:gd name="T6" fmla="*/ 1518 w 1559"/>
                  <a:gd name="T7" fmla="*/ 114 h 146"/>
                  <a:gd name="T8" fmla="*/ 1433 w 1559"/>
                  <a:gd name="T9" fmla="*/ 74 h 146"/>
                  <a:gd name="T10" fmla="*/ 1431 w 1559"/>
                  <a:gd name="T11" fmla="*/ 92 h 146"/>
                  <a:gd name="T12" fmla="*/ 1332 w 1559"/>
                  <a:gd name="T13" fmla="*/ 75 h 146"/>
                  <a:gd name="T14" fmla="*/ 1332 w 1559"/>
                  <a:gd name="T15" fmla="*/ 75 h 146"/>
                  <a:gd name="T16" fmla="*/ 1304 w 1559"/>
                  <a:gd name="T17" fmla="*/ 2 h 146"/>
                  <a:gd name="T18" fmla="*/ 1303 w 1559"/>
                  <a:gd name="T19" fmla="*/ 108 h 146"/>
                  <a:gd name="T20" fmla="*/ 1232 w 1559"/>
                  <a:gd name="T21" fmla="*/ 51 h 146"/>
                  <a:gd name="T22" fmla="*/ 1231 w 1559"/>
                  <a:gd name="T23" fmla="*/ 115 h 146"/>
                  <a:gd name="T24" fmla="*/ 1265 w 1559"/>
                  <a:gd name="T25" fmla="*/ 80 h 146"/>
                  <a:gd name="T26" fmla="*/ 1145 w 1559"/>
                  <a:gd name="T27" fmla="*/ 11 h 146"/>
                  <a:gd name="T28" fmla="*/ 1061 w 1559"/>
                  <a:gd name="T29" fmla="*/ 92 h 146"/>
                  <a:gd name="T30" fmla="*/ 1044 w 1559"/>
                  <a:gd name="T31" fmla="*/ 37 h 146"/>
                  <a:gd name="T32" fmla="*/ 1008 w 1559"/>
                  <a:gd name="T33" fmla="*/ 56 h 146"/>
                  <a:gd name="T34" fmla="*/ 1051 w 1559"/>
                  <a:gd name="T35" fmla="*/ 54 h 146"/>
                  <a:gd name="T36" fmla="*/ 970 w 1559"/>
                  <a:gd name="T37" fmla="*/ 68 h 146"/>
                  <a:gd name="T38" fmla="*/ 989 w 1559"/>
                  <a:gd name="T39" fmla="*/ 108 h 146"/>
                  <a:gd name="T40" fmla="*/ 990 w 1559"/>
                  <a:gd name="T41" fmla="*/ 74 h 146"/>
                  <a:gd name="T42" fmla="*/ 906 w 1559"/>
                  <a:gd name="T43" fmla="*/ 57 h 146"/>
                  <a:gd name="T44" fmla="*/ 892 w 1559"/>
                  <a:gd name="T45" fmla="*/ 92 h 146"/>
                  <a:gd name="T46" fmla="*/ 911 w 1559"/>
                  <a:gd name="T47" fmla="*/ 91 h 146"/>
                  <a:gd name="T48" fmla="*/ 837 w 1559"/>
                  <a:gd name="T49" fmla="*/ 57 h 146"/>
                  <a:gd name="T50" fmla="*/ 823 w 1559"/>
                  <a:gd name="T51" fmla="*/ 92 h 146"/>
                  <a:gd name="T52" fmla="*/ 843 w 1559"/>
                  <a:gd name="T53" fmla="*/ 91 h 146"/>
                  <a:gd name="T54" fmla="*/ 749 w 1559"/>
                  <a:gd name="T55" fmla="*/ 80 h 146"/>
                  <a:gd name="T56" fmla="*/ 765 w 1559"/>
                  <a:gd name="T57" fmla="*/ 43 h 146"/>
                  <a:gd name="T58" fmla="*/ 749 w 1559"/>
                  <a:gd name="T59" fmla="*/ 61 h 146"/>
                  <a:gd name="T60" fmla="*/ 751 w 1559"/>
                  <a:gd name="T61" fmla="*/ 107 h 146"/>
                  <a:gd name="T62" fmla="*/ 667 w 1559"/>
                  <a:gd name="T63" fmla="*/ 61 h 146"/>
                  <a:gd name="T64" fmla="*/ 613 w 1559"/>
                  <a:gd name="T65" fmla="*/ 61 h 146"/>
                  <a:gd name="T66" fmla="*/ 597 w 1559"/>
                  <a:gd name="T67" fmla="*/ 114 h 146"/>
                  <a:gd name="T68" fmla="*/ 650 w 1559"/>
                  <a:gd name="T69" fmla="*/ 114 h 146"/>
                  <a:gd name="T70" fmla="*/ 512 w 1559"/>
                  <a:gd name="T71" fmla="*/ 104 h 146"/>
                  <a:gd name="T72" fmla="*/ 464 w 1559"/>
                  <a:gd name="T73" fmla="*/ 51 h 146"/>
                  <a:gd name="T74" fmla="*/ 462 w 1559"/>
                  <a:gd name="T75" fmla="*/ 115 h 146"/>
                  <a:gd name="T76" fmla="*/ 496 w 1559"/>
                  <a:gd name="T77" fmla="*/ 80 h 146"/>
                  <a:gd name="T78" fmla="*/ 393 w 1559"/>
                  <a:gd name="T79" fmla="*/ 38 h 146"/>
                  <a:gd name="T80" fmla="*/ 391 w 1559"/>
                  <a:gd name="T81" fmla="*/ 12 h 146"/>
                  <a:gd name="T82" fmla="*/ 326 w 1559"/>
                  <a:gd name="T83" fmla="*/ 75 h 146"/>
                  <a:gd name="T84" fmla="*/ 355 w 1559"/>
                  <a:gd name="T85" fmla="*/ 38 h 146"/>
                  <a:gd name="T86" fmla="*/ 353 w 1559"/>
                  <a:gd name="T87" fmla="*/ 103 h 146"/>
                  <a:gd name="T88" fmla="*/ 310 w 1559"/>
                  <a:gd name="T89" fmla="*/ 122 h 146"/>
                  <a:gd name="T90" fmla="*/ 373 w 1559"/>
                  <a:gd name="T91" fmla="*/ 56 h 146"/>
                  <a:gd name="T92" fmla="*/ 269 w 1559"/>
                  <a:gd name="T93" fmla="*/ 47 h 146"/>
                  <a:gd name="T94" fmla="*/ 270 w 1559"/>
                  <a:gd name="T95" fmla="*/ 114 h 146"/>
                  <a:gd name="T96" fmla="*/ 211 w 1559"/>
                  <a:gd name="T97" fmla="*/ 68 h 146"/>
                  <a:gd name="T98" fmla="*/ 198 w 1559"/>
                  <a:gd name="T99" fmla="*/ 36 h 146"/>
                  <a:gd name="T100" fmla="*/ 200 w 1559"/>
                  <a:gd name="T101" fmla="*/ 100 h 146"/>
                  <a:gd name="T102" fmla="*/ 148 w 1559"/>
                  <a:gd name="T103" fmla="*/ 62 h 146"/>
                  <a:gd name="T104" fmla="*/ 81 w 1559"/>
                  <a:gd name="T105" fmla="*/ 38 h 146"/>
                  <a:gd name="T106" fmla="*/ 119 w 1559"/>
                  <a:gd name="T107" fmla="*/ 54 h 146"/>
                  <a:gd name="T108" fmla="*/ 66 w 1559"/>
                  <a:gd name="T109" fmla="*/ 96 h 146"/>
                  <a:gd name="T110" fmla="*/ 21 w 1559"/>
                  <a:gd name="T111" fmla="*/ 52 h 146"/>
                  <a:gd name="T112" fmla="*/ 0 w 1559"/>
                  <a:gd name="T113" fmla="*/ 11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59" h="146">
                    <a:moveTo>
                      <a:pt x="1559" y="104"/>
                    </a:moveTo>
                    <a:cubicBezTo>
                      <a:pt x="1559" y="98"/>
                      <a:pt x="1556" y="92"/>
                      <a:pt x="1547" y="92"/>
                    </a:cubicBezTo>
                    <a:cubicBezTo>
                      <a:pt x="1539" y="92"/>
                      <a:pt x="1535" y="98"/>
                      <a:pt x="1535" y="104"/>
                    </a:cubicBezTo>
                    <a:cubicBezTo>
                      <a:pt x="1535" y="110"/>
                      <a:pt x="1539" y="116"/>
                      <a:pt x="1547" y="116"/>
                    </a:cubicBezTo>
                    <a:cubicBezTo>
                      <a:pt x="1556" y="116"/>
                      <a:pt x="1559" y="110"/>
                      <a:pt x="1559" y="104"/>
                    </a:cubicBezTo>
                    <a:close/>
                    <a:moveTo>
                      <a:pt x="1518" y="114"/>
                    </a:moveTo>
                    <a:lnTo>
                      <a:pt x="1518" y="62"/>
                    </a:lnTo>
                    <a:cubicBezTo>
                      <a:pt x="1518" y="55"/>
                      <a:pt x="1517" y="49"/>
                      <a:pt x="1514" y="45"/>
                    </a:cubicBezTo>
                    <a:cubicBezTo>
                      <a:pt x="1510" y="39"/>
                      <a:pt x="1504" y="36"/>
                      <a:pt x="1495" y="36"/>
                    </a:cubicBezTo>
                    <a:cubicBezTo>
                      <a:pt x="1485" y="36"/>
                      <a:pt x="1474" y="45"/>
                      <a:pt x="1471" y="48"/>
                    </a:cubicBezTo>
                    <a:cubicBezTo>
                      <a:pt x="1471" y="43"/>
                      <a:pt x="1470" y="38"/>
                      <a:pt x="1470" y="38"/>
                    </a:cubicBezTo>
                    <a:lnTo>
                      <a:pt x="1450" y="38"/>
                    </a:lnTo>
                    <a:cubicBezTo>
                      <a:pt x="1450" y="38"/>
                      <a:pt x="1451" y="47"/>
                      <a:pt x="1451" y="56"/>
                    </a:cubicBezTo>
                    <a:lnTo>
                      <a:pt x="1451" y="114"/>
                    </a:lnTo>
                    <a:lnTo>
                      <a:pt x="1472" y="114"/>
                    </a:lnTo>
                    <a:lnTo>
                      <a:pt x="1472" y="62"/>
                    </a:lnTo>
                    <a:cubicBezTo>
                      <a:pt x="1475" y="59"/>
                      <a:pt x="1482" y="54"/>
                      <a:pt x="1488" y="54"/>
                    </a:cubicBezTo>
                    <a:cubicBezTo>
                      <a:pt x="1493" y="54"/>
                      <a:pt x="1497" y="55"/>
                      <a:pt x="1497" y="64"/>
                    </a:cubicBezTo>
                    <a:lnTo>
                      <a:pt x="1497" y="114"/>
                    </a:lnTo>
                    <a:lnTo>
                      <a:pt x="1518" y="114"/>
                    </a:lnTo>
                    <a:close/>
                    <a:moveTo>
                      <a:pt x="1413" y="68"/>
                    </a:moveTo>
                    <a:lnTo>
                      <a:pt x="1389" y="68"/>
                    </a:lnTo>
                    <a:cubicBezTo>
                      <a:pt x="1389" y="62"/>
                      <a:pt x="1391" y="51"/>
                      <a:pt x="1400" y="51"/>
                    </a:cubicBezTo>
                    <a:cubicBezTo>
                      <a:pt x="1411" y="51"/>
                      <a:pt x="1413" y="62"/>
                      <a:pt x="1413" y="68"/>
                    </a:cubicBezTo>
                    <a:close/>
                    <a:moveTo>
                      <a:pt x="1433" y="74"/>
                    </a:moveTo>
                    <a:cubicBezTo>
                      <a:pt x="1433" y="56"/>
                      <a:pt x="1426" y="36"/>
                      <a:pt x="1400" y="36"/>
                    </a:cubicBezTo>
                    <a:cubicBezTo>
                      <a:pt x="1378" y="36"/>
                      <a:pt x="1367" y="56"/>
                      <a:pt x="1367" y="76"/>
                    </a:cubicBezTo>
                    <a:cubicBezTo>
                      <a:pt x="1367" y="90"/>
                      <a:pt x="1372" y="115"/>
                      <a:pt x="1399" y="115"/>
                    </a:cubicBezTo>
                    <a:cubicBezTo>
                      <a:pt x="1420" y="115"/>
                      <a:pt x="1432" y="108"/>
                      <a:pt x="1432" y="108"/>
                    </a:cubicBezTo>
                    <a:lnTo>
                      <a:pt x="1431" y="92"/>
                    </a:lnTo>
                    <a:cubicBezTo>
                      <a:pt x="1431" y="92"/>
                      <a:pt x="1416" y="100"/>
                      <a:pt x="1402" y="100"/>
                    </a:cubicBezTo>
                    <a:cubicBezTo>
                      <a:pt x="1393" y="100"/>
                      <a:pt x="1389" y="94"/>
                      <a:pt x="1389" y="80"/>
                    </a:cubicBezTo>
                    <a:lnTo>
                      <a:pt x="1433" y="80"/>
                    </a:lnTo>
                    <a:cubicBezTo>
                      <a:pt x="1433" y="80"/>
                      <a:pt x="1433" y="76"/>
                      <a:pt x="1433" y="74"/>
                    </a:cubicBezTo>
                    <a:moveTo>
                      <a:pt x="1332" y="75"/>
                    </a:moveTo>
                    <a:cubicBezTo>
                      <a:pt x="1332" y="93"/>
                      <a:pt x="1326" y="99"/>
                      <a:pt x="1319" y="99"/>
                    </a:cubicBezTo>
                    <a:cubicBezTo>
                      <a:pt x="1316" y="99"/>
                      <a:pt x="1310" y="97"/>
                      <a:pt x="1304" y="94"/>
                    </a:cubicBezTo>
                    <a:lnTo>
                      <a:pt x="1304" y="59"/>
                    </a:lnTo>
                    <a:cubicBezTo>
                      <a:pt x="1310" y="54"/>
                      <a:pt x="1316" y="53"/>
                      <a:pt x="1320" y="53"/>
                    </a:cubicBezTo>
                    <a:cubicBezTo>
                      <a:pt x="1330" y="53"/>
                      <a:pt x="1332" y="67"/>
                      <a:pt x="1332" y="75"/>
                    </a:cubicBezTo>
                    <a:close/>
                    <a:moveTo>
                      <a:pt x="1353" y="76"/>
                    </a:moveTo>
                    <a:cubicBezTo>
                      <a:pt x="1353" y="60"/>
                      <a:pt x="1349" y="36"/>
                      <a:pt x="1324" y="36"/>
                    </a:cubicBezTo>
                    <a:cubicBezTo>
                      <a:pt x="1315" y="36"/>
                      <a:pt x="1306" y="43"/>
                      <a:pt x="1304" y="44"/>
                    </a:cubicBezTo>
                    <a:cubicBezTo>
                      <a:pt x="1304" y="44"/>
                      <a:pt x="1304" y="39"/>
                      <a:pt x="1304" y="36"/>
                    </a:cubicBezTo>
                    <a:lnTo>
                      <a:pt x="1304" y="2"/>
                    </a:lnTo>
                    <a:lnTo>
                      <a:pt x="1284" y="4"/>
                    </a:lnTo>
                    <a:lnTo>
                      <a:pt x="1284" y="98"/>
                    </a:lnTo>
                    <a:cubicBezTo>
                      <a:pt x="1284" y="105"/>
                      <a:pt x="1283" y="114"/>
                      <a:pt x="1283" y="114"/>
                    </a:cubicBezTo>
                    <a:lnTo>
                      <a:pt x="1302" y="114"/>
                    </a:lnTo>
                    <a:cubicBezTo>
                      <a:pt x="1303" y="112"/>
                      <a:pt x="1303" y="109"/>
                      <a:pt x="1303" y="108"/>
                    </a:cubicBezTo>
                    <a:cubicBezTo>
                      <a:pt x="1304" y="109"/>
                      <a:pt x="1313" y="115"/>
                      <a:pt x="1324" y="115"/>
                    </a:cubicBezTo>
                    <a:cubicBezTo>
                      <a:pt x="1342" y="115"/>
                      <a:pt x="1353" y="98"/>
                      <a:pt x="1353" y="76"/>
                    </a:cubicBezTo>
                    <a:moveTo>
                      <a:pt x="1245" y="68"/>
                    </a:moveTo>
                    <a:lnTo>
                      <a:pt x="1221" y="68"/>
                    </a:lnTo>
                    <a:cubicBezTo>
                      <a:pt x="1221" y="62"/>
                      <a:pt x="1223" y="51"/>
                      <a:pt x="1232" y="51"/>
                    </a:cubicBezTo>
                    <a:cubicBezTo>
                      <a:pt x="1243" y="51"/>
                      <a:pt x="1245" y="62"/>
                      <a:pt x="1245" y="68"/>
                    </a:cubicBezTo>
                    <a:close/>
                    <a:moveTo>
                      <a:pt x="1265" y="74"/>
                    </a:moveTo>
                    <a:cubicBezTo>
                      <a:pt x="1265" y="56"/>
                      <a:pt x="1258" y="36"/>
                      <a:pt x="1232" y="36"/>
                    </a:cubicBezTo>
                    <a:cubicBezTo>
                      <a:pt x="1210" y="36"/>
                      <a:pt x="1199" y="56"/>
                      <a:pt x="1199" y="76"/>
                    </a:cubicBezTo>
                    <a:cubicBezTo>
                      <a:pt x="1199" y="90"/>
                      <a:pt x="1204" y="115"/>
                      <a:pt x="1231" y="115"/>
                    </a:cubicBezTo>
                    <a:cubicBezTo>
                      <a:pt x="1251" y="115"/>
                      <a:pt x="1264" y="108"/>
                      <a:pt x="1264" y="108"/>
                    </a:cubicBezTo>
                    <a:lnTo>
                      <a:pt x="1263" y="92"/>
                    </a:lnTo>
                    <a:cubicBezTo>
                      <a:pt x="1263" y="92"/>
                      <a:pt x="1248" y="100"/>
                      <a:pt x="1234" y="100"/>
                    </a:cubicBezTo>
                    <a:cubicBezTo>
                      <a:pt x="1225" y="100"/>
                      <a:pt x="1221" y="94"/>
                      <a:pt x="1221" y="80"/>
                    </a:cubicBezTo>
                    <a:lnTo>
                      <a:pt x="1265" y="80"/>
                    </a:lnTo>
                    <a:cubicBezTo>
                      <a:pt x="1265" y="80"/>
                      <a:pt x="1265" y="76"/>
                      <a:pt x="1265" y="74"/>
                    </a:cubicBezTo>
                    <a:moveTo>
                      <a:pt x="1188" y="114"/>
                    </a:moveTo>
                    <a:lnTo>
                      <a:pt x="1188" y="95"/>
                    </a:lnTo>
                    <a:lnTo>
                      <a:pt x="1145" y="95"/>
                    </a:lnTo>
                    <a:lnTo>
                      <a:pt x="1145" y="11"/>
                    </a:lnTo>
                    <a:lnTo>
                      <a:pt x="1124" y="11"/>
                    </a:lnTo>
                    <a:lnTo>
                      <a:pt x="1124" y="114"/>
                    </a:lnTo>
                    <a:lnTo>
                      <a:pt x="1188" y="114"/>
                    </a:lnTo>
                    <a:close/>
                    <a:moveTo>
                      <a:pt x="1073" y="104"/>
                    </a:moveTo>
                    <a:cubicBezTo>
                      <a:pt x="1073" y="98"/>
                      <a:pt x="1069" y="92"/>
                      <a:pt x="1061" y="92"/>
                    </a:cubicBezTo>
                    <a:cubicBezTo>
                      <a:pt x="1053" y="92"/>
                      <a:pt x="1048" y="98"/>
                      <a:pt x="1048" y="104"/>
                    </a:cubicBezTo>
                    <a:cubicBezTo>
                      <a:pt x="1048" y="110"/>
                      <a:pt x="1053" y="116"/>
                      <a:pt x="1061" y="116"/>
                    </a:cubicBezTo>
                    <a:cubicBezTo>
                      <a:pt x="1069" y="116"/>
                      <a:pt x="1073" y="110"/>
                      <a:pt x="1073" y="104"/>
                    </a:cubicBezTo>
                    <a:close/>
                    <a:moveTo>
                      <a:pt x="1053" y="38"/>
                    </a:moveTo>
                    <a:cubicBezTo>
                      <a:pt x="1053" y="38"/>
                      <a:pt x="1052" y="37"/>
                      <a:pt x="1044" y="37"/>
                    </a:cubicBezTo>
                    <a:cubicBezTo>
                      <a:pt x="1038" y="37"/>
                      <a:pt x="1032" y="42"/>
                      <a:pt x="1029" y="45"/>
                    </a:cubicBezTo>
                    <a:cubicBezTo>
                      <a:pt x="1029" y="46"/>
                      <a:pt x="1028" y="47"/>
                      <a:pt x="1028" y="47"/>
                    </a:cubicBezTo>
                    <a:cubicBezTo>
                      <a:pt x="1028" y="43"/>
                      <a:pt x="1027" y="38"/>
                      <a:pt x="1027" y="38"/>
                    </a:cubicBezTo>
                    <a:lnTo>
                      <a:pt x="1007" y="38"/>
                    </a:lnTo>
                    <a:cubicBezTo>
                      <a:pt x="1007" y="38"/>
                      <a:pt x="1008" y="47"/>
                      <a:pt x="1008" y="56"/>
                    </a:cubicBezTo>
                    <a:lnTo>
                      <a:pt x="1008" y="114"/>
                    </a:lnTo>
                    <a:lnTo>
                      <a:pt x="1029" y="114"/>
                    </a:lnTo>
                    <a:lnTo>
                      <a:pt x="1029" y="60"/>
                    </a:lnTo>
                    <a:cubicBezTo>
                      <a:pt x="1034" y="56"/>
                      <a:pt x="1039" y="53"/>
                      <a:pt x="1041" y="53"/>
                    </a:cubicBezTo>
                    <a:cubicBezTo>
                      <a:pt x="1047" y="53"/>
                      <a:pt x="1051" y="54"/>
                      <a:pt x="1051" y="54"/>
                    </a:cubicBezTo>
                    <a:lnTo>
                      <a:pt x="1053" y="38"/>
                    </a:lnTo>
                    <a:close/>
                    <a:moveTo>
                      <a:pt x="970" y="68"/>
                    </a:moveTo>
                    <a:lnTo>
                      <a:pt x="946" y="68"/>
                    </a:lnTo>
                    <a:cubicBezTo>
                      <a:pt x="946" y="62"/>
                      <a:pt x="948" y="51"/>
                      <a:pt x="958" y="51"/>
                    </a:cubicBezTo>
                    <a:cubicBezTo>
                      <a:pt x="968" y="51"/>
                      <a:pt x="970" y="62"/>
                      <a:pt x="970" y="68"/>
                    </a:cubicBezTo>
                    <a:close/>
                    <a:moveTo>
                      <a:pt x="990" y="74"/>
                    </a:moveTo>
                    <a:cubicBezTo>
                      <a:pt x="990" y="56"/>
                      <a:pt x="983" y="36"/>
                      <a:pt x="958" y="36"/>
                    </a:cubicBezTo>
                    <a:cubicBezTo>
                      <a:pt x="935" y="36"/>
                      <a:pt x="925" y="56"/>
                      <a:pt x="925" y="76"/>
                    </a:cubicBezTo>
                    <a:cubicBezTo>
                      <a:pt x="925" y="90"/>
                      <a:pt x="929" y="115"/>
                      <a:pt x="956" y="115"/>
                    </a:cubicBezTo>
                    <a:cubicBezTo>
                      <a:pt x="977" y="115"/>
                      <a:pt x="989" y="108"/>
                      <a:pt x="989" y="108"/>
                    </a:cubicBezTo>
                    <a:lnTo>
                      <a:pt x="988" y="92"/>
                    </a:lnTo>
                    <a:cubicBezTo>
                      <a:pt x="988" y="92"/>
                      <a:pt x="974" y="100"/>
                      <a:pt x="960" y="100"/>
                    </a:cubicBezTo>
                    <a:cubicBezTo>
                      <a:pt x="951" y="100"/>
                      <a:pt x="946" y="94"/>
                      <a:pt x="946" y="80"/>
                    </a:cubicBezTo>
                    <a:lnTo>
                      <a:pt x="990" y="80"/>
                    </a:lnTo>
                    <a:cubicBezTo>
                      <a:pt x="990" y="80"/>
                      <a:pt x="990" y="76"/>
                      <a:pt x="990" y="74"/>
                    </a:cubicBezTo>
                    <a:moveTo>
                      <a:pt x="911" y="91"/>
                    </a:moveTo>
                    <a:cubicBezTo>
                      <a:pt x="911" y="73"/>
                      <a:pt x="894" y="70"/>
                      <a:pt x="882" y="64"/>
                    </a:cubicBezTo>
                    <a:cubicBezTo>
                      <a:pt x="879" y="63"/>
                      <a:pt x="876" y="61"/>
                      <a:pt x="876" y="58"/>
                    </a:cubicBezTo>
                    <a:cubicBezTo>
                      <a:pt x="876" y="56"/>
                      <a:pt x="878" y="52"/>
                      <a:pt x="884" y="52"/>
                    </a:cubicBezTo>
                    <a:cubicBezTo>
                      <a:pt x="894" y="52"/>
                      <a:pt x="906" y="57"/>
                      <a:pt x="906" y="57"/>
                    </a:cubicBezTo>
                    <a:lnTo>
                      <a:pt x="907" y="40"/>
                    </a:lnTo>
                    <a:cubicBezTo>
                      <a:pt x="907" y="40"/>
                      <a:pt x="897" y="36"/>
                      <a:pt x="885" y="36"/>
                    </a:cubicBezTo>
                    <a:cubicBezTo>
                      <a:pt x="870" y="36"/>
                      <a:pt x="857" y="44"/>
                      <a:pt x="857" y="60"/>
                    </a:cubicBezTo>
                    <a:cubicBezTo>
                      <a:pt x="857" y="77"/>
                      <a:pt x="874" y="80"/>
                      <a:pt x="885" y="85"/>
                    </a:cubicBezTo>
                    <a:cubicBezTo>
                      <a:pt x="889" y="87"/>
                      <a:pt x="892" y="89"/>
                      <a:pt x="892" y="92"/>
                    </a:cubicBezTo>
                    <a:cubicBezTo>
                      <a:pt x="892" y="96"/>
                      <a:pt x="888" y="99"/>
                      <a:pt x="883" y="99"/>
                    </a:cubicBezTo>
                    <a:cubicBezTo>
                      <a:pt x="872" y="99"/>
                      <a:pt x="857" y="91"/>
                      <a:pt x="857" y="91"/>
                    </a:cubicBezTo>
                    <a:lnTo>
                      <a:pt x="856" y="110"/>
                    </a:lnTo>
                    <a:cubicBezTo>
                      <a:pt x="856" y="110"/>
                      <a:pt x="869" y="116"/>
                      <a:pt x="883" y="116"/>
                    </a:cubicBezTo>
                    <a:cubicBezTo>
                      <a:pt x="898" y="116"/>
                      <a:pt x="911" y="108"/>
                      <a:pt x="911" y="91"/>
                    </a:cubicBezTo>
                    <a:close/>
                    <a:moveTo>
                      <a:pt x="843" y="91"/>
                    </a:moveTo>
                    <a:cubicBezTo>
                      <a:pt x="843" y="73"/>
                      <a:pt x="826" y="70"/>
                      <a:pt x="813" y="64"/>
                    </a:cubicBezTo>
                    <a:cubicBezTo>
                      <a:pt x="810" y="63"/>
                      <a:pt x="807" y="61"/>
                      <a:pt x="807" y="58"/>
                    </a:cubicBezTo>
                    <a:cubicBezTo>
                      <a:pt x="807" y="56"/>
                      <a:pt x="809" y="52"/>
                      <a:pt x="815" y="52"/>
                    </a:cubicBezTo>
                    <a:cubicBezTo>
                      <a:pt x="825" y="52"/>
                      <a:pt x="837" y="57"/>
                      <a:pt x="837" y="57"/>
                    </a:cubicBezTo>
                    <a:lnTo>
                      <a:pt x="838" y="40"/>
                    </a:lnTo>
                    <a:cubicBezTo>
                      <a:pt x="838" y="40"/>
                      <a:pt x="828" y="36"/>
                      <a:pt x="816" y="36"/>
                    </a:cubicBezTo>
                    <a:cubicBezTo>
                      <a:pt x="801" y="36"/>
                      <a:pt x="788" y="44"/>
                      <a:pt x="788" y="60"/>
                    </a:cubicBezTo>
                    <a:cubicBezTo>
                      <a:pt x="788" y="77"/>
                      <a:pt x="805" y="80"/>
                      <a:pt x="817" y="85"/>
                    </a:cubicBezTo>
                    <a:cubicBezTo>
                      <a:pt x="820" y="87"/>
                      <a:pt x="823" y="89"/>
                      <a:pt x="823" y="92"/>
                    </a:cubicBezTo>
                    <a:cubicBezTo>
                      <a:pt x="823" y="96"/>
                      <a:pt x="819" y="99"/>
                      <a:pt x="815" y="99"/>
                    </a:cubicBezTo>
                    <a:cubicBezTo>
                      <a:pt x="803" y="99"/>
                      <a:pt x="788" y="91"/>
                      <a:pt x="788" y="91"/>
                    </a:cubicBezTo>
                    <a:lnTo>
                      <a:pt x="787" y="110"/>
                    </a:lnTo>
                    <a:cubicBezTo>
                      <a:pt x="787" y="110"/>
                      <a:pt x="800" y="116"/>
                      <a:pt x="814" y="116"/>
                    </a:cubicBezTo>
                    <a:cubicBezTo>
                      <a:pt x="829" y="116"/>
                      <a:pt x="843" y="108"/>
                      <a:pt x="843" y="91"/>
                    </a:cubicBezTo>
                    <a:close/>
                    <a:moveTo>
                      <a:pt x="749" y="94"/>
                    </a:moveTo>
                    <a:cubicBezTo>
                      <a:pt x="747" y="96"/>
                      <a:pt x="742" y="100"/>
                      <a:pt x="736" y="100"/>
                    </a:cubicBezTo>
                    <a:cubicBezTo>
                      <a:pt x="731" y="100"/>
                      <a:pt x="729" y="95"/>
                      <a:pt x="729" y="91"/>
                    </a:cubicBezTo>
                    <a:cubicBezTo>
                      <a:pt x="729" y="89"/>
                      <a:pt x="730" y="87"/>
                      <a:pt x="732" y="85"/>
                    </a:cubicBezTo>
                    <a:cubicBezTo>
                      <a:pt x="736" y="81"/>
                      <a:pt x="746" y="80"/>
                      <a:pt x="749" y="80"/>
                    </a:cubicBezTo>
                    <a:lnTo>
                      <a:pt x="749" y="94"/>
                    </a:lnTo>
                    <a:close/>
                    <a:moveTo>
                      <a:pt x="771" y="114"/>
                    </a:moveTo>
                    <a:cubicBezTo>
                      <a:pt x="771" y="114"/>
                      <a:pt x="770" y="107"/>
                      <a:pt x="770" y="98"/>
                    </a:cubicBezTo>
                    <a:lnTo>
                      <a:pt x="770" y="62"/>
                    </a:lnTo>
                    <a:cubicBezTo>
                      <a:pt x="770" y="54"/>
                      <a:pt x="769" y="48"/>
                      <a:pt x="765" y="43"/>
                    </a:cubicBezTo>
                    <a:cubicBezTo>
                      <a:pt x="761" y="39"/>
                      <a:pt x="755" y="36"/>
                      <a:pt x="745" y="36"/>
                    </a:cubicBezTo>
                    <a:cubicBezTo>
                      <a:pt x="729" y="36"/>
                      <a:pt x="714" y="43"/>
                      <a:pt x="714" y="43"/>
                    </a:cubicBezTo>
                    <a:lnTo>
                      <a:pt x="715" y="59"/>
                    </a:lnTo>
                    <a:cubicBezTo>
                      <a:pt x="720" y="56"/>
                      <a:pt x="731" y="52"/>
                      <a:pt x="741" y="52"/>
                    </a:cubicBezTo>
                    <a:cubicBezTo>
                      <a:pt x="747" y="52"/>
                      <a:pt x="749" y="55"/>
                      <a:pt x="749" y="61"/>
                    </a:cubicBezTo>
                    <a:lnTo>
                      <a:pt x="749" y="69"/>
                    </a:lnTo>
                    <a:cubicBezTo>
                      <a:pt x="740" y="69"/>
                      <a:pt x="725" y="70"/>
                      <a:pt x="716" y="77"/>
                    </a:cubicBezTo>
                    <a:cubicBezTo>
                      <a:pt x="711" y="81"/>
                      <a:pt x="709" y="85"/>
                      <a:pt x="709" y="92"/>
                    </a:cubicBezTo>
                    <a:cubicBezTo>
                      <a:pt x="709" y="102"/>
                      <a:pt x="714" y="115"/>
                      <a:pt x="730" y="115"/>
                    </a:cubicBezTo>
                    <a:cubicBezTo>
                      <a:pt x="741" y="115"/>
                      <a:pt x="751" y="107"/>
                      <a:pt x="751" y="107"/>
                    </a:cubicBezTo>
                    <a:cubicBezTo>
                      <a:pt x="751" y="110"/>
                      <a:pt x="751" y="114"/>
                      <a:pt x="751" y="114"/>
                    </a:cubicBezTo>
                    <a:lnTo>
                      <a:pt x="771" y="114"/>
                    </a:lnTo>
                    <a:close/>
                    <a:moveTo>
                      <a:pt x="701" y="12"/>
                    </a:moveTo>
                    <a:lnTo>
                      <a:pt x="679" y="11"/>
                    </a:lnTo>
                    <a:lnTo>
                      <a:pt x="667" y="61"/>
                    </a:lnTo>
                    <a:cubicBezTo>
                      <a:pt x="665" y="68"/>
                      <a:pt x="663" y="83"/>
                      <a:pt x="662" y="86"/>
                    </a:cubicBezTo>
                    <a:cubicBezTo>
                      <a:pt x="662" y="83"/>
                      <a:pt x="659" y="68"/>
                      <a:pt x="658" y="61"/>
                    </a:cubicBezTo>
                    <a:lnTo>
                      <a:pt x="646" y="11"/>
                    </a:lnTo>
                    <a:lnTo>
                      <a:pt x="624" y="11"/>
                    </a:lnTo>
                    <a:lnTo>
                      <a:pt x="613" y="61"/>
                    </a:lnTo>
                    <a:cubicBezTo>
                      <a:pt x="611" y="68"/>
                      <a:pt x="609" y="82"/>
                      <a:pt x="608" y="85"/>
                    </a:cubicBezTo>
                    <a:cubicBezTo>
                      <a:pt x="608" y="82"/>
                      <a:pt x="605" y="68"/>
                      <a:pt x="604" y="61"/>
                    </a:cubicBezTo>
                    <a:lnTo>
                      <a:pt x="592" y="10"/>
                    </a:lnTo>
                    <a:lnTo>
                      <a:pt x="570" y="11"/>
                    </a:lnTo>
                    <a:lnTo>
                      <a:pt x="597" y="114"/>
                    </a:lnTo>
                    <a:lnTo>
                      <a:pt x="619" y="114"/>
                    </a:lnTo>
                    <a:lnTo>
                      <a:pt x="630" y="67"/>
                    </a:lnTo>
                    <a:cubicBezTo>
                      <a:pt x="631" y="59"/>
                      <a:pt x="635" y="40"/>
                      <a:pt x="635" y="40"/>
                    </a:cubicBezTo>
                    <a:cubicBezTo>
                      <a:pt x="635" y="40"/>
                      <a:pt x="638" y="59"/>
                      <a:pt x="640" y="67"/>
                    </a:cubicBezTo>
                    <a:lnTo>
                      <a:pt x="650" y="114"/>
                    </a:lnTo>
                    <a:lnTo>
                      <a:pt x="673" y="114"/>
                    </a:lnTo>
                    <a:lnTo>
                      <a:pt x="701" y="12"/>
                    </a:lnTo>
                    <a:close/>
                    <a:moveTo>
                      <a:pt x="537" y="104"/>
                    </a:moveTo>
                    <a:cubicBezTo>
                      <a:pt x="537" y="98"/>
                      <a:pt x="533" y="92"/>
                      <a:pt x="525" y="92"/>
                    </a:cubicBezTo>
                    <a:cubicBezTo>
                      <a:pt x="516" y="92"/>
                      <a:pt x="512" y="98"/>
                      <a:pt x="512" y="104"/>
                    </a:cubicBezTo>
                    <a:cubicBezTo>
                      <a:pt x="512" y="110"/>
                      <a:pt x="516" y="116"/>
                      <a:pt x="525" y="116"/>
                    </a:cubicBezTo>
                    <a:cubicBezTo>
                      <a:pt x="533" y="116"/>
                      <a:pt x="537" y="110"/>
                      <a:pt x="537" y="104"/>
                    </a:cubicBezTo>
                    <a:close/>
                    <a:moveTo>
                      <a:pt x="476" y="68"/>
                    </a:moveTo>
                    <a:lnTo>
                      <a:pt x="452" y="68"/>
                    </a:lnTo>
                    <a:cubicBezTo>
                      <a:pt x="452" y="62"/>
                      <a:pt x="454" y="51"/>
                      <a:pt x="464" y="51"/>
                    </a:cubicBezTo>
                    <a:cubicBezTo>
                      <a:pt x="474" y="51"/>
                      <a:pt x="476" y="62"/>
                      <a:pt x="476" y="68"/>
                    </a:cubicBezTo>
                    <a:moveTo>
                      <a:pt x="496" y="74"/>
                    </a:moveTo>
                    <a:cubicBezTo>
                      <a:pt x="496" y="56"/>
                      <a:pt x="489" y="36"/>
                      <a:pt x="464" y="36"/>
                    </a:cubicBezTo>
                    <a:cubicBezTo>
                      <a:pt x="441" y="36"/>
                      <a:pt x="431" y="56"/>
                      <a:pt x="431" y="76"/>
                    </a:cubicBezTo>
                    <a:cubicBezTo>
                      <a:pt x="431" y="90"/>
                      <a:pt x="435" y="115"/>
                      <a:pt x="462" y="115"/>
                    </a:cubicBezTo>
                    <a:cubicBezTo>
                      <a:pt x="483" y="115"/>
                      <a:pt x="495" y="108"/>
                      <a:pt x="495" y="108"/>
                    </a:cubicBezTo>
                    <a:lnTo>
                      <a:pt x="494" y="92"/>
                    </a:lnTo>
                    <a:cubicBezTo>
                      <a:pt x="494" y="92"/>
                      <a:pt x="480" y="100"/>
                      <a:pt x="466" y="100"/>
                    </a:cubicBezTo>
                    <a:cubicBezTo>
                      <a:pt x="457" y="100"/>
                      <a:pt x="452" y="94"/>
                      <a:pt x="452" y="80"/>
                    </a:cubicBezTo>
                    <a:lnTo>
                      <a:pt x="496" y="80"/>
                    </a:lnTo>
                    <a:cubicBezTo>
                      <a:pt x="496" y="80"/>
                      <a:pt x="496" y="76"/>
                      <a:pt x="496" y="74"/>
                    </a:cubicBezTo>
                    <a:moveTo>
                      <a:pt x="413" y="114"/>
                    </a:moveTo>
                    <a:lnTo>
                      <a:pt x="413" y="54"/>
                    </a:lnTo>
                    <a:cubicBezTo>
                      <a:pt x="413" y="48"/>
                      <a:pt x="412" y="38"/>
                      <a:pt x="412" y="38"/>
                    </a:cubicBezTo>
                    <a:lnTo>
                      <a:pt x="393" y="38"/>
                    </a:lnTo>
                    <a:lnTo>
                      <a:pt x="393" y="114"/>
                    </a:lnTo>
                    <a:lnTo>
                      <a:pt x="413" y="114"/>
                    </a:lnTo>
                    <a:close/>
                    <a:moveTo>
                      <a:pt x="416" y="12"/>
                    </a:moveTo>
                    <a:cubicBezTo>
                      <a:pt x="416" y="6"/>
                      <a:pt x="411" y="0"/>
                      <a:pt x="403" y="0"/>
                    </a:cubicBezTo>
                    <a:cubicBezTo>
                      <a:pt x="395" y="0"/>
                      <a:pt x="391" y="6"/>
                      <a:pt x="391" y="12"/>
                    </a:cubicBezTo>
                    <a:cubicBezTo>
                      <a:pt x="391" y="18"/>
                      <a:pt x="395" y="24"/>
                      <a:pt x="403" y="24"/>
                    </a:cubicBezTo>
                    <a:cubicBezTo>
                      <a:pt x="411" y="24"/>
                      <a:pt x="416" y="18"/>
                      <a:pt x="416" y="12"/>
                    </a:cubicBezTo>
                    <a:close/>
                    <a:moveTo>
                      <a:pt x="353" y="88"/>
                    </a:moveTo>
                    <a:cubicBezTo>
                      <a:pt x="347" y="95"/>
                      <a:pt x="341" y="97"/>
                      <a:pt x="337" y="97"/>
                    </a:cubicBezTo>
                    <a:cubicBezTo>
                      <a:pt x="328" y="97"/>
                      <a:pt x="326" y="83"/>
                      <a:pt x="326" y="75"/>
                    </a:cubicBezTo>
                    <a:cubicBezTo>
                      <a:pt x="326" y="66"/>
                      <a:pt x="327" y="53"/>
                      <a:pt x="339" y="53"/>
                    </a:cubicBezTo>
                    <a:cubicBezTo>
                      <a:pt x="343" y="53"/>
                      <a:pt x="347" y="54"/>
                      <a:pt x="353" y="57"/>
                    </a:cubicBezTo>
                    <a:lnTo>
                      <a:pt x="353" y="88"/>
                    </a:lnTo>
                    <a:close/>
                    <a:moveTo>
                      <a:pt x="375" y="38"/>
                    </a:moveTo>
                    <a:lnTo>
                      <a:pt x="355" y="38"/>
                    </a:lnTo>
                    <a:cubicBezTo>
                      <a:pt x="355" y="38"/>
                      <a:pt x="354" y="40"/>
                      <a:pt x="354" y="42"/>
                    </a:cubicBezTo>
                    <a:cubicBezTo>
                      <a:pt x="352" y="41"/>
                      <a:pt x="345" y="36"/>
                      <a:pt x="336" y="36"/>
                    </a:cubicBezTo>
                    <a:cubicBezTo>
                      <a:pt x="315" y="36"/>
                      <a:pt x="305" y="53"/>
                      <a:pt x="305" y="75"/>
                    </a:cubicBezTo>
                    <a:cubicBezTo>
                      <a:pt x="305" y="90"/>
                      <a:pt x="310" y="114"/>
                      <a:pt x="332" y="114"/>
                    </a:cubicBezTo>
                    <a:cubicBezTo>
                      <a:pt x="344" y="114"/>
                      <a:pt x="352" y="105"/>
                      <a:pt x="353" y="103"/>
                    </a:cubicBezTo>
                    <a:cubicBezTo>
                      <a:pt x="353" y="103"/>
                      <a:pt x="353" y="108"/>
                      <a:pt x="353" y="110"/>
                    </a:cubicBezTo>
                    <a:lnTo>
                      <a:pt x="353" y="115"/>
                    </a:lnTo>
                    <a:cubicBezTo>
                      <a:pt x="353" y="117"/>
                      <a:pt x="353" y="119"/>
                      <a:pt x="352" y="121"/>
                    </a:cubicBezTo>
                    <a:cubicBezTo>
                      <a:pt x="351" y="125"/>
                      <a:pt x="347" y="128"/>
                      <a:pt x="338" y="128"/>
                    </a:cubicBezTo>
                    <a:cubicBezTo>
                      <a:pt x="323" y="128"/>
                      <a:pt x="310" y="122"/>
                      <a:pt x="310" y="122"/>
                    </a:cubicBezTo>
                    <a:lnTo>
                      <a:pt x="309" y="140"/>
                    </a:lnTo>
                    <a:cubicBezTo>
                      <a:pt x="309" y="140"/>
                      <a:pt x="320" y="146"/>
                      <a:pt x="338" y="146"/>
                    </a:cubicBezTo>
                    <a:cubicBezTo>
                      <a:pt x="357" y="146"/>
                      <a:pt x="369" y="139"/>
                      <a:pt x="373" y="125"/>
                    </a:cubicBezTo>
                    <a:cubicBezTo>
                      <a:pt x="373" y="122"/>
                      <a:pt x="373" y="116"/>
                      <a:pt x="373" y="112"/>
                    </a:cubicBezTo>
                    <a:lnTo>
                      <a:pt x="373" y="56"/>
                    </a:lnTo>
                    <a:cubicBezTo>
                      <a:pt x="373" y="47"/>
                      <a:pt x="375" y="38"/>
                      <a:pt x="375" y="38"/>
                    </a:cubicBezTo>
                    <a:moveTo>
                      <a:pt x="294" y="38"/>
                    </a:moveTo>
                    <a:cubicBezTo>
                      <a:pt x="294" y="38"/>
                      <a:pt x="293" y="37"/>
                      <a:pt x="285" y="37"/>
                    </a:cubicBezTo>
                    <a:cubicBezTo>
                      <a:pt x="279" y="37"/>
                      <a:pt x="273" y="42"/>
                      <a:pt x="270" y="45"/>
                    </a:cubicBezTo>
                    <a:cubicBezTo>
                      <a:pt x="270" y="46"/>
                      <a:pt x="269" y="47"/>
                      <a:pt x="269" y="47"/>
                    </a:cubicBezTo>
                    <a:cubicBezTo>
                      <a:pt x="269" y="43"/>
                      <a:pt x="268" y="38"/>
                      <a:pt x="268" y="38"/>
                    </a:cubicBezTo>
                    <a:lnTo>
                      <a:pt x="248" y="38"/>
                    </a:lnTo>
                    <a:cubicBezTo>
                      <a:pt x="248" y="38"/>
                      <a:pt x="249" y="47"/>
                      <a:pt x="249" y="56"/>
                    </a:cubicBezTo>
                    <a:lnTo>
                      <a:pt x="249" y="114"/>
                    </a:lnTo>
                    <a:lnTo>
                      <a:pt x="270" y="114"/>
                    </a:lnTo>
                    <a:lnTo>
                      <a:pt x="270" y="60"/>
                    </a:lnTo>
                    <a:cubicBezTo>
                      <a:pt x="275" y="56"/>
                      <a:pt x="279" y="53"/>
                      <a:pt x="282" y="53"/>
                    </a:cubicBezTo>
                    <a:cubicBezTo>
                      <a:pt x="288" y="53"/>
                      <a:pt x="292" y="54"/>
                      <a:pt x="292" y="54"/>
                    </a:cubicBezTo>
                    <a:lnTo>
                      <a:pt x="294" y="38"/>
                    </a:lnTo>
                    <a:close/>
                    <a:moveTo>
                      <a:pt x="211" y="68"/>
                    </a:moveTo>
                    <a:lnTo>
                      <a:pt x="187" y="68"/>
                    </a:lnTo>
                    <a:cubicBezTo>
                      <a:pt x="187" y="62"/>
                      <a:pt x="189" y="51"/>
                      <a:pt x="198" y="51"/>
                    </a:cubicBezTo>
                    <a:cubicBezTo>
                      <a:pt x="209" y="51"/>
                      <a:pt x="211" y="62"/>
                      <a:pt x="211" y="68"/>
                    </a:cubicBezTo>
                    <a:moveTo>
                      <a:pt x="231" y="74"/>
                    </a:moveTo>
                    <a:cubicBezTo>
                      <a:pt x="231" y="56"/>
                      <a:pt x="224" y="36"/>
                      <a:pt x="198" y="36"/>
                    </a:cubicBezTo>
                    <a:cubicBezTo>
                      <a:pt x="176" y="36"/>
                      <a:pt x="165" y="56"/>
                      <a:pt x="165" y="76"/>
                    </a:cubicBezTo>
                    <a:cubicBezTo>
                      <a:pt x="165" y="90"/>
                      <a:pt x="170" y="115"/>
                      <a:pt x="197" y="115"/>
                    </a:cubicBezTo>
                    <a:cubicBezTo>
                      <a:pt x="218" y="115"/>
                      <a:pt x="230" y="108"/>
                      <a:pt x="230" y="108"/>
                    </a:cubicBezTo>
                    <a:lnTo>
                      <a:pt x="229" y="92"/>
                    </a:lnTo>
                    <a:cubicBezTo>
                      <a:pt x="229" y="92"/>
                      <a:pt x="214" y="100"/>
                      <a:pt x="200" y="100"/>
                    </a:cubicBezTo>
                    <a:cubicBezTo>
                      <a:pt x="191" y="100"/>
                      <a:pt x="187" y="94"/>
                      <a:pt x="187" y="80"/>
                    </a:cubicBezTo>
                    <a:lnTo>
                      <a:pt x="231" y="80"/>
                    </a:lnTo>
                    <a:cubicBezTo>
                      <a:pt x="231" y="80"/>
                      <a:pt x="231" y="76"/>
                      <a:pt x="231" y="74"/>
                    </a:cubicBezTo>
                    <a:moveTo>
                      <a:pt x="148" y="114"/>
                    </a:moveTo>
                    <a:lnTo>
                      <a:pt x="148" y="62"/>
                    </a:lnTo>
                    <a:cubicBezTo>
                      <a:pt x="148" y="55"/>
                      <a:pt x="147" y="49"/>
                      <a:pt x="144" y="45"/>
                    </a:cubicBezTo>
                    <a:cubicBezTo>
                      <a:pt x="141" y="39"/>
                      <a:pt x="135" y="36"/>
                      <a:pt x="126" y="36"/>
                    </a:cubicBezTo>
                    <a:cubicBezTo>
                      <a:pt x="115" y="36"/>
                      <a:pt x="104" y="45"/>
                      <a:pt x="101" y="48"/>
                    </a:cubicBezTo>
                    <a:cubicBezTo>
                      <a:pt x="101" y="43"/>
                      <a:pt x="101" y="38"/>
                      <a:pt x="101" y="38"/>
                    </a:cubicBezTo>
                    <a:lnTo>
                      <a:pt x="81" y="38"/>
                    </a:lnTo>
                    <a:cubicBezTo>
                      <a:pt x="81" y="38"/>
                      <a:pt x="82" y="47"/>
                      <a:pt x="82" y="56"/>
                    </a:cubicBezTo>
                    <a:lnTo>
                      <a:pt x="82" y="114"/>
                    </a:lnTo>
                    <a:lnTo>
                      <a:pt x="102" y="114"/>
                    </a:lnTo>
                    <a:lnTo>
                      <a:pt x="102" y="62"/>
                    </a:lnTo>
                    <a:cubicBezTo>
                      <a:pt x="105" y="59"/>
                      <a:pt x="112" y="54"/>
                      <a:pt x="119" y="54"/>
                    </a:cubicBezTo>
                    <a:cubicBezTo>
                      <a:pt x="124" y="54"/>
                      <a:pt x="128" y="55"/>
                      <a:pt x="128" y="64"/>
                    </a:cubicBezTo>
                    <a:lnTo>
                      <a:pt x="128" y="114"/>
                    </a:lnTo>
                    <a:lnTo>
                      <a:pt x="148" y="114"/>
                    </a:lnTo>
                    <a:close/>
                    <a:moveTo>
                      <a:pt x="66" y="114"/>
                    </a:moveTo>
                    <a:lnTo>
                      <a:pt x="66" y="96"/>
                    </a:lnTo>
                    <a:lnTo>
                      <a:pt x="21" y="96"/>
                    </a:lnTo>
                    <a:lnTo>
                      <a:pt x="21" y="69"/>
                    </a:lnTo>
                    <a:lnTo>
                      <a:pt x="57" y="69"/>
                    </a:lnTo>
                    <a:lnTo>
                      <a:pt x="57" y="52"/>
                    </a:lnTo>
                    <a:lnTo>
                      <a:pt x="21" y="52"/>
                    </a:lnTo>
                    <a:lnTo>
                      <a:pt x="21" y="29"/>
                    </a:lnTo>
                    <a:lnTo>
                      <a:pt x="62" y="29"/>
                    </a:lnTo>
                    <a:lnTo>
                      <a:pt x="64" y="11"/>
                    </a:lnTo>
                    <a:lnTo>
                      <a:pt x="0" y="11"/>
                    </a:lnTo>
                    <a:lnTo>
                      <a:pt x="0" y="114"/>
                    </a:lnTo>
                    <a:lnTo>
                      <a:pt x="66" y="1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9" name="Freeform 39">
                <a:extLst>
                  <a:ext uri="{FF2B5EF4-FFF2-40B4-BE49-F238E27FC236}">
                    <a16:creationId xmlns:a16="http://schemas.microsoft.com/office/drawing/2014/main" id="{FA07E67C-99BB-4E7F-8A73-DB182A30F3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29374" y="990263"/>
                <a:ext cx="354012" cy="273050"/>
              </a:xfrm>
              <a:custGeom>
                <a:avLst/>
                <a:gdLst>
                  <a:gd name="T0" fmla="*/ 0 w 443"/>
                  <a:gd name="T1" fmla="*/ 0 h 341"/>
                  <a:gd name="T2" fmla="*/ 0 w 443"/>
                  <a:gd name="T3" fmla="*/ 217 h 341"/>
                  <a:gd name="T4" fmla="*/ 131 w 443"/>
                  <a:gd name="T5" fmla="*/ 341 h 341"/>
                  <a:gd name="T6" fmla="*/ 222 w 443"/>
                  <a:gd name="T7" fmla="*/ 300 h 341"/>
                  <a:gd name="T8" fmla="*/ 313 w 443"/>
                  <a:gd name="T9" fmla="*/ 341 h 341"/>
                  <a:gd name="T10" fmla="*/ 443 w 443"/>
                  <a:gd name="T11" fmla="*/ 217 h 341"/>
                  <a:gd name="T12" fmla="*/ 443 w 443"/>
                  <a:gd name="T13" fmla="*/ 0 h 341"/>
                  <a:gd name="T14" fmla="*/ 365 w 443"/>
                  <a:gd name="T15" fmla="*/ 0 h 341"/>
                  <a:gd name="T16" fmla="*/ 365 w 443"/>
                  <a:gd name="T17" fmla="*/ 219 h 341"/>
                  <a:gd name="T18" fmla="*/ 313 w 443"/>
                  <a:gd name="T19" fmla="*/ 268 h 341"/>
                  <a:gd name="T20" fmla="*/ 261 w 443"/>
                  <a:gd name="T21" fmla="*/ 219 h 341"/>
                  <a:gd name="T22" fmla="*/ 261 w 443"/>
                  <a:gd name="T23" fmla="*/ 0 h 341"/>
                  <a:gd name="T24" fmla="*/ 183 w 443"/>
                  <a:gd name="T25" fmla="*/ 0 h 341"/>
                  <a:gd name="T26" fmla="*/ 183 w 443"/>
                  <a:gd name="T27" fmla="*/ 219 h 341"/>
                  <a:gd name="T28" fmla="*/ 131 w 443"/>
                  <a:gd name="T29" fmla="*/ 268 h 341"/>
                  <a:gd name="T30" fmla="*/ 79 w 443"/>
                  <a:gd name="T31" fmla="*/ 219 h 341"/>
                  <a:gd name="T32" fmla="*/ 79 w 443"/>
                  <a:gd name="T33" fmla="*/ 0 h 341"/>
                  <a:gd name="T34" fmla="*/ 0 w 443"/>
                  <a:gd name="T35" fmla="*/ 0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3" h="341">
                    <a:moveTo>
                      <a:pt x="0" y="0"/>
                    </a:moveTo>
                    <a:lnTo>
                      <a:pt x="0" y="217"/>
                    </a:lnTo>
                    <a:cubicBezTo>
                      <a:pt x="0" y="285"/>
                      <a:pt x="59" y="341"/>
                      <a:pt x="131" y="341"/>
                    </a:cubicBezTo>
                    <a:cubicBezTo>
                      <a:pt x="165" y="341"/>
                      <a:pt x="205" y="322"/>
                      <a:pt x="222" y="300"/>
                    </a:cubicBezTo>
                    <a:cubicBezTo>
                      <a:pt x="239" y="322"/>
                      <a:pt x="279" y="341"/>
                      <a:pt x="313" y="341"/>
                    </a:cubicBezTo>
                    <a:cubicBezTo>
                      <a:pt x="385" y="341"/>
                      <a:pt x="443" y="285"/>
                      <a:pt x="443" y="217"/>
                    </a:cubicBezTo>
                    <a:lnTo>
                      <a:pt x="443" y="0"/>
                    </a:lnTo>
                    <a:lnTo>
                      <a:pt x="365" y="0"/>
                    </a:lnTo>
                    <a:lnTo>
                      <a:pt x="365" y="219"/>
                    </a:lnTo>
                    <a:cubicBezTo>
                      <a:pt x="365" y="246"/>
                      <a:pt x="342" y="268"/>
                      <a:pt x="313" y="268"/>
                    </a:cubicBezTo>
                    <a:cubicBezTo>
                      <a:pt x="285" y="268"/>
                      <a:pt x="261" y="246"/>
                      <a:pt x="261" y="219"/>
                    </a:cubicBezTo>
                    <a:lnTo>
                      <a:pt x="261" y="0"/>
                    </a:lnTo>
                    <a:lnTo>
                      <a:pt x="183" y="0"/>
                    </a:lnTo>
                    <a:lnTo>
                      <a:pt x="183" y="219"/>
                    </a:lnTo>
                    <a:cubicBezTo>
                      <a:pt x="183" y="246"/>
                      <a:pt x="159" y="268"/>
                      <a:pt x="131" y="268"/>
                    </a:cubicBezTo>
                    <a:cubicBezTo>
                      <a:pt x="102" y="268"/>
                      <a:pt x="79" y="246"/>
                      <a:pt x="79" y="219"/>
                    </a:cubicBez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0" name="Freeform 40">
                <a:extLst>
                  <a:ext uri="{FF2B5EF4-FFF2-40B4-BE49-F238E27FC236}">
                    <a16:creationId xmlns:a16="http://schemas.microsoft.com/office/drawing/2014/main" id="{7A95D535-94D8-4215-BF42-F9FFF9F401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30924" y="982325"/>
                <a:ext cx="276225" cy="277813"/>
              </a:xfrm>
              <a:custGeom>
                <a:avLst/>
                <a:gdLst>
                  <a:gd name="T0" fmla="*/ 345 w 347"/>
                  <a:gd name="T1" fmla="*/ 199 h 348"/>
                  <a:gd name="T2" fmla="*/ 347 w 347"/>
                  <a:gd name="T3" fmla="*/ 174 h 348"/>
                  <a:gd name="T4" fmla="*/ 174 w 347"/>
                  <a:gd name="T5" fmla="*/ 0 h 348"/>
                  <a:gd name="T6" fmla="*/ 0 w 347"/>
                  <a:gd name="T7" fmla="*/ 174 h 348"/>
                  <a:gd name="T8" fmla="*/ 174 w 347"/>
                  <a:gd name="T9" fmla="*/ 348 h 348"/>
                  <a:gd name="T10" fmla="*/ 336 w 347"/>
                  <a:gd name="T11" fmla="*/ 237 h 348"/>
                  <a:gd name="T12" fmla="*/ 254 w 347"/>
                  <a:gd name="T13" fmla="*/ 237 h 348"/>
                  <a:gd name="T14" fmla="*/ 174 w 347"/>
                  <a:gd name="T15" fmla="*/ 276 h 348"/>
                  <a:gd name="T16" fmla="*/ 71 w 347"/>
                  <a:gd name="T17" fmla="*/ 174 h 348"/>
                  <a:gd name="T18" fmla="*/ 174 w 347"/>
                  <a:gd name="T19" fmla="*/ 71 h 348"/>
                  <a:gd name="T20" fmla="*/ 265 w 347"/>
                  <a:gd name="T21" fmla="*/ 128 h 348"/>
                  <a:gd name="T22" fmla="*/ 141 w 347"/>
                  <a:gd name="T23" fmla="*/ 128 h 348"/>
                  <a:gd name="T24" fmla="*/ 141 w 347"/>
                  <a:gd name="T25" fmla="*/ 199 h 348"/>
                  <a:gd name="T26" fmla="*/ 345 w 347"/>
                  <a:gd name="T27" fmla="*/ 199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7" h="348">
                    <a:moveTo>
                      <a:pt x="345" y="199"/>
                    </a:moveTo>
                    <a:cubicBezTo>
                      <a:pt x="347" y="191"/>
                      <a:pt x="347" y="183"/>
                      <a:pt x="347" y="174"/>
                    </a:cubicBezTo>
                    <a:cubicBezTo>
                      <a:pt x="347" y="78"/>
                      <a:pt x="270" y="0"/>
                      <a:pt x="174" y="0"/>
                    </a:cubicBezTo>
                    <a:cubicBezTo>
                      <a:pt x="78" y="0"/>
                      <a:pt x="0" y="78"/>
                      <a:pt x="0" y="174"/>
                    </a:cubicBezTo>
                    <a:cubicBezTo>
                      <a:pt x="0" y="270"/>
                      <a:pt x="78" y="348"/>
                      <a:pt x="174" y="348"/>
                    </a:cubicBezTo>
                    <a:cubicBezTo>
                      <a:pt x="248" y="348"/>
                      <a:pt x="310" y="301"/>
                      <a:pt x="336" y="237"/>
                    </a:cubicBezTo>
                    <a:lnTo>
                      <a:pt x="254" y="237"/>
                    </a:lnTo>
                    <a:cubicBezTo>
                      <a:pt x="235" y="260"/>
                      <a:pt x="206" y="276"/>
                      <a:pt x="174" y="276"/>
                    </a:cubicBezTo>
                    <a:cubicBezTo>
                      <a:pt x="117" y="276"/>
                      <a:pt x="71" y="230"/>
                      <a:pt x="71" y="174"/>
                    </a:cubicBezTo>
                    <a:cubicBezTo>
                      <a:pt x="71" y="117"/>
                      <a:pt x="117" y="71"/>
                      <a:pt x="174" y="71"/>
                    </a:cubicBezTo>
                    <a:cubicBezTo>
                      <a:pt x="214" y="71"/>
                      <a:pt x="248" y="95"/>
                      <a:pt x="265" y="128"/>
                    </a:cubicBezTo>
                    <a:lnTo>
                      <a:pt x="141" y="128"/>
                    </a:lnTo>
                    <a:lnTo>
                      <a:pt x="141" y="199"/>
                    </a:lnTo>
                    <a:lnTo>
                      <a:pt x="345" y="19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" name="Freeform 41">
                <a:extLst>
                  <a:ext uri="{FF2B5EF4-FFF2-40B4-BE49-F238E27FC236}">
                    <a16:creationId xmlns:a16="http://schemas.microsoft.com/office/drawing/2014/main" id="{D1B7050F-36DF-43DD-9B45-B743042BD4B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34061" y="868025"/>
                <a:ext cx="276225" cy="395288"/>
              </a:xfrm>
              <a:custGeom>
                <a:avLst/>
                <a:gdLst>
                  <a:gd name="T0" fmla="*/ 273 w 347"/>
                  <a:gd name="T1" fmla="*/ 0 h 496"/>
                  <a:gd name="T2" fmla="*/ 273 w 347"/>
                  <a:gd name="T3" fmla="*/ 184 h 496"/>
                  <a:gd name="T4" fmla="*/ 173 w 347"/>
                  <a:gd name="T5" fmla="*/ 150 h 496"/>
                  <a:gd name="T6" fmla="*/ 0 w 347"/>
                  <a:gd name="T7" fmla="*/ 323 h 496"/>
                  <a:gd name="T8" fmla="*/ 173 w 347"/>
                  <a:gd name="T9" fmla="*/ 496 h 496"/>
                  <a:gd name="T10" fmla="*/ 273 w 347"/>
                  <a:gd name="T11" fmla="*/ 463 h 496"/>
                  <a:gd name="T12" fmla="*/ 273 w 347"/>
                  <a:gd name="T13" fmla="*/ 492 h 496"/>
                  <a:gd name="T14" fmla="*/ 347 w 347"/>
                  <a:gd name="T15" fmla="*/ 492 h 496"/>
                  <a:gd name="T16" fmla="*/ 347 w 347"/>
                  <a:gd name="T17" fmla="*/ 0 h 496"/>
                  <a:gd name="T18" fmla="*/ 273 w 347"/>
                  <a:gd name="T19" fmla="*/ 0 h 496"/>
                  <a:gd name="T20" fmla="*/ 196 w 347"/>
                  <a:gd name="T21" fmla="*/ 421 h 496"/>
                  <a:gd name="T22" fmla="*/ 173 w 347"/>
                  <a:gd name="T23" fmla="*/ 425 h 496"/>
                  <a:gd name="T24" fmla="*/ 134 w 347"/>
                  <a:gd name="T25" fmla="*/ 416 h 496"/>
                  <a:gd name="T26" fmla="*/ 71 w 347"/>
                  <a:gd name="T27" fmla="*/ 321 h 496"/>
                  <a:gd name="T28" fmla="*/ 173 w 347"/>
                  <a:gd name="T29" fmla="*/ 219 h 496"/>
                  <a:gd name="T30" fmla="*/ 276 w 347"/>
                  <a:gd name="T31" fmla="*/ 321 h 496"/>
                  <a:gd name="T32" fmla="*/ 196 w 347"/>
                  <a:gd name="T33" fmla="*/ 421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7" h="496">
                    <a:moveTo>
                      <a:pt x="273" y="0"/>
                    </a:moveTo>
                    <a:lnTo>
                      <a:pt x="273" y="184"/>
                    </a:lnTo>
                    <a:cubicBezTo>
                      <a:pt x="245" y="163"/>
                      <a:pt x="211" y="150"/>
                      <a:pt x="173" y="150"/>
                    </a:cubicBezTo>
                    <a:cubicBezTo>
                      <a:pt x="77" y="150"/>
                      <a:pt x="0" y="227"/>
                      <a:pt x="0" y="323"/>
                    </a:cubicBezTo>
                    <a:cubicBezTo>
                      <a:pt x="0" y="418"/>
                      <a:pt x="77" y="496"/>
                      <a:pt x="173" y="496"/>
                    </a:cubicBezTo>
                    <a:cubicBezTo>
                      <a:pt x="211" y="496"/>
                      <a:pt x="245" y="484"/>
                      <a:pt x="273" y="463"/>
                    </a:cubicBezTo>
                    <a:lnTo>
                      <a:pt x="273" y="492"/>
                    </a:lnTo>
                    <a:lnTo>
                      <a:pt x="347" y="492"/>
                    </a:lnTo>
                    <a:lnTo>
                      <a:pt x="347" y="0"/>
                    </a:lnTo>
                    <a:lnTo>
                      <a:pt x="273" y="0"/>
                    </a:lnTo>
                    <a:close/>
                    <a:moveTo>
                      <a:pt x="196" y="421"/>
                    </a:moveTo>
                    <a:cubicBezTo>
                      <a:pt x="189" y="423"/>
                      <a:pt x="181" y="425"/>
                      <a:pt x="173" y="425"/>
                    </a:cubicBezTo>
                    <a:cubicBezTo>
                      <a:pt x="159" y="425"/>
                      <a:pt x="146" y="421"/>
                      <a:pt x="134" y="416"/>
                    </a:cubicBezTo>
                    <a:cubicBezTo>
                      <a:pt x="97" y="401"/>
                      <a:pt x="71" y="364"/>
                      <a:pt x="71" y="321"/>
                    </a:cubicBezTo>
                    <a:cubicBezTo>
                      <a:pt x="71" y="265"/>
                      <a:pt x="117" y="219"/>
                      <a:pt x="173" y="219"/>
                    </a:cubicBezTo>
                    <a:cubicBezTo>
                      <a:pt x="230" y="219"/>
                      <a:pt x="276" y="265"/>
                      <a:pt x="276" y="321"/>
                    </a:cubicBezTo>
                    <a:cubicBezTo>
                      <a:pt x="276" y="370"/>
                      <a:pt x="242" y="411"/>
                      <a:pt x="196" y="42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2" name="Freeform 42">
                <a:extLst>
                  <a:ext uri="{FF2B5EF4-FFF2-40B4-BE49-F238E27FC236}">
                    <a16:creationId xmlns:a16="http://schemas.microsoft.com/office/drawing/2014/main" id="{7ED9D302-9A04-4ACB-B3DC-CB6FDC4CAC3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868025"/>
                <a:ext cx="277812" cy="395288"/>
              </a:xfrm>
              <a:custGeom>
                <a:avLst/>
                <a:gdLst>
                  <a:gd name="T0" fmla="*/ 175 w 348"/>
                  <a:gd name="T1" fmla="*/ 150 h 496"/>
                  <a:gd name="T2" fmla="*/ 75 w 348"/>
                  <a:gd name="T3" fmla="*/ 184 h 496"/>
                  <a:gd name="T4" fmla="*/ 75 w 348"/>
                  <a:gd name="T5" fmla="*/ 0 h 496"/>
                  <a:gd name="T6" fmla="*/ 0 w 348"/>
                  <a:gd name="T7" fmla="*/ 0 h 496"/>
                  <a:gd name="T8" fmla="*/ 0 w 348"/>
                  <a:gd name="T9" fmla="*/ 492 h 496"/>
                  <a:gd name="T10" fmla="*/ 75 w 348"/>
                  <a:gd name="T11" fmla="*/ 492 h 496"/>
                  <a:gd name="T12" fmla="*/ 75 w 348"/>
                  <a:gd name="T13" fmla="*/ 463 h 496"/>
                  <a:gd name="T14" fmla="*/ 175 w 348"/>
                  <a:gd name="T15" fmla="*/ 496 h 496"/>
                  <a:gd name="T16" fmla="*/ 348 w 348"/>
                  <a:gd name="T17" fmla="*/ 323 h 496"/>
                  <a:gd name="T18" fmla="*/ 175 w 348"/>
                  <a:gd name="T19" fmla="*/ 150 h 496"/>
                  <a:gd name="T20" fmla="*/ 214 w 348"/>
                  <a:gd name="T21" fmla="*/ 416 h 496"/>
                  <a:gd name="T22" fmla="*/ 175 w 348"/>
                  <a:gd name="T23" fmla="*/ 425 h 496"/>
                  <a:gd name="T24" fmla="*/ 152 w 348"/>
                  <a:gd name="T25" fmla="*/ 421 h 496"/>
                  <a:gd name="T26" fmla="*/ 72 w 348"/>
                  <a:gd name="T27" fmla="*/ 321 h 496"/>
                  <a:gd name="T28" fmla="*/ 175 w 348"/>
                  <a:gd name="T29" fmla="*/ 219 h 496"/>
                  <a:gd name="T30" fmla="*/ 277 w 348"/>
                  <a:gd name="T31" fmla="*/ 321 h 496"/>
                  <a:gd name="T32" fmla="*/ 214 w 348"/>
                  <a:gd name="T33" fmla="*/ 41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8" h="496">
                    <a:moveTo>
                      <a:pt x="175" y="150"/>
                    </a:moveTo>
                    <a:cubicBezTo>
                      <a:pt x="137" y="150"/>
                      <a:pt x="103" y="163"/>
                      <a:pt x="75" y="184"/>
                    </a:cubicBezTo>
                    <a:lnTo>
                      <a:pt x="75" y="0"/>
                    </a:lnTo>
                    <a:lnTo>
                      <a:pt x="0" y="0"/>
                    </a:lnTo>
                    <a:lnTo>
                      <a:pt x="0" y="492"/>
                    </a:lnTo>
                    <a:lnTo>
                      <a:pt x="75" y="492"/>
                    </a:lnTo>
                    <a:lnTo>
                      <a:pt x="75" y="463"/>
                    </a:lnTo>
                    <a:cubicBezTo>
                      <a:pt x="103" y="484"/>
                      <a:pt x="137" y="496"/>
                      <a:pt x="175" y="496"/>
                    </a:cubicBezTo>
                    <a:cubicBezTo>
                      <a:pt x="271" y="496"/>
                      <a:pt x="348" y="418"/>
                      <a:pt x="348" y="323"/>
                    </a:cubicBezTo>
                    <a:cubicBezTo>
                      <a:pt x="348" y="227"/>
                      <a:pt x="271" y="150"/>
                      <a:pt x="175" y="150"/>
                    </a:cubicBezTo>
                    <a:close/>
                    <a:moveTo>
                      <a:pt x="214" y="416"/>
                    </a:moveTo>
                    <a:cubicBezTo>
                      <a:pt x="202" y="421"/>
                      <a:pt x="189" y="425"/>
                      <a:pt x="175" y="425"/>
                    </a:cubicBezTo>
                    <a:cubicBezTo>
                      <a:pt x="167" y="425"/>
                      <a:pt x="159" y="423"/>
                      <a:pt x="152" y="421"/>
                    </a:cubicBezTo>
                    <a:cubicBezTo>
                      <a:pt x="106" y="411"/>
                      <a:pt x="72" y="370"/>
                      <a:pt x="72" y="321"/>
                    </a:cubicBezTo>
                    <a:cubicBezTo>
                      <a:pt x="72" y="265"/>
                      <a:pt x="118" y="219"/>
                      <a:pt x="175" y="219"/>
                    </a:cubicBezTo>
                    <a:cubicBezTo>
                      <a:pt x="231" y="219"/>
                      <a:pt x="277" y="265"/>
                      <a:pt x="277" y="321"/>
                    </a:cubicBezTo>
                    <a:cubicBezTo>
                      <a:pt x="277" y="364"/>
                      <a:pt x="251" y="401"/>
                      <a:pt x="214" y="4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23" name="Rechteck 22">
            <a:extLst>
              <a:ext uri="{FF2B5EF4-FFF2-40B4-BE49-F238E27FC236}">
                <a16:creationId xmlns:a16="http://schemas.microsoft.com/office/drawing/2014/main" id="{D95895AD-2EE1-4D04-B165-048B6D5D9818}"/>
              </a:ext>
            </a:extLst>
          </p:cNvPr>
          <p:cNvSpPr/>
          <p:nvPr/>
        </p:nvSpPr>
        <p:spPr>
          <a:xfrm>
            <a:off x="143223" y="144115"/>
            <a:ext cx="8928000" cy="4896000"/>
          </a:xfrm>
          <a:prstGeom prst="rect">
            <a:avLst/>
          </a:prstGeom>
          <a:noFill/>
          <a:ln>
            <a:solidFill>
              <a:srgbClr val="C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36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314B9CC2-6FD0-4A54-8D4D-A21A275AD5D5}"/>
              </a:ext>
            </a:extLst>
          </p:cNvPr>
          <p:cNvSpPr txBox="1"/>
          <p:nvPr/>
        </p:nvSpPr>
        <p:spPr>
          <a:xfrm>
            <a:off x="1022968" y="4680000"/>
            <a:ext cx="200375" cy="144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indent="0" algn="r">
              <a:spcAft>
                <a:spcPts val="1000"/>
              </a:spcAft>
              <a:buClr>
                <a:schemeClr val="accent1"/>
              </a:buClr>
              <a:buFont typeface="Calibri" panose="020F0502020204030204" pitchFamily="34" charset="0"/>
              <a:buNone/>
            </a:pPr>
            <a:r>
              <a:rPr lang="de-DE" sz="800" dirty="0">
                <a:solidFill>
                  <a:schemeClr val="accent3"/>
                </a:solidFill>
              </a:rPr>
              <a:t>Folie</a:t>
            </a:r>
          </a:p>
        </p:txBody>
      </p:sp>
    </p:spTree>
    <p:extLst>
      <p:ext uri="{BB962C8B-B14F-4D97-AF65-F5344CB8AC3E}">
        <p14:creationId xmlns:p14="http://schemas.microsoft.com/office/powerpoint/2010/main" val="251771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21F07DF-5638-4707-A3B6-0414065AFC7C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431800" y="865188"/>
            <a:ext cx="8351838" cy="41036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201F4830-02D5-4CDC-BE53-87EEC2FAEE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7AE9D3F6-60F6-40E1-936D-6A1E8C1BE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3A1ACD44-38B1-42A9-BB2E-4E41A9ABE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1199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5F6CD-5B21-422C-A388-D3982546B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140728-C76C-4A8A-A0DB-32D3A80CC5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1453" y="1800001"/>
            <a:ext cx="4032250" cy="31686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A515521-CF36-43DF-8006-6F4895FFA8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51735" y="1800001"/>
            <a:ext cx="4032250" cy="31686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F39A0076-9856-4316-A2C2-9B5A543A19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013024DD-12C5-4418-B89A-1BE4467EB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093751A8-9A06-48BF-8633-A9D401CCC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140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0F7DB9-3C09-4E53-BACB-FC9500A68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864267"/>
            <a:ext cx="8352383" cy="648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03CE9B-65AD-4D10-96C7-6574CAEA66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703" y="1800371"/>
            <a:ext cx="4032000" cy="5760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E6730B2-7655-4C77-BB72-DD89EBE4ED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1453" y="2592651"/>
            <a:ext cx="4032250" cy="23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7B141BF-BA70-4D25-B586-D6D1A6F95F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752280" y="1800299"/>
            <a:ext cx="4031903" cy="5760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C3F4711-8A5E-47D8-B67C-49AFEA3118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752183" y="2592651"/>
            <a:ext cx="4032000" cy="23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E31B3D2-63E6-474A-95D3-E636EBC6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3958CA7-E040-4C1D-9C07-B71F4C8460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7767F37B-BEB7-49B4-B2E9-4707BFD5EF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9720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F51FDF-E61C-476D-937C-CD8F78E6C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5" y="862979"/>
            <a:ext cx="4027370" cy="649288"/>
          </a:xfrm>
          <a:prstGeom prst="rect">
            <a:avLst/>
          </a:prstGeom>
        </p:spPr>
        <p:txBody>
          <a:bodyPr wrap="square" anchor="t" anchorCtr="0"/>
          <a:lstStyle>
            <a:lvl1pPr>
              <a:defRPr sz="26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408F3D8-E34D-4471-AAA3-9FE9BBCF3BD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751735" y="863376"/>
            <a:ext cx="4032000" cy="4105275"/>
          </a:xfrm>
        </p:spPr>
        <p:txBody>
          <a:bodyPr lIns="0" tIns="0"/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D57C96F-418C-464D-8080-6AC22CEE4CA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31255" y="1798127"/>
            <a:ext cx="4036881" cy="3170524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478EB4EE-BA92-4E68-B7EA-93AAEF37AE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85208F1D-8CA3-4776-A3B9-981FEFEA7F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7116FE7-B59D-4068-AE44-7C623B5E2D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278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714294F-37E1-4995-BB5C-4BBEDB79C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737D52E-DCF5-49A0-8957-B959078213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255" y="1800972"/>
            <a:ext cx="8352382" cy="31676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070E68EB-2EBA-4AA0-905D-6DC44201C061}"/>
              </a:ext>
            </a:extLst>
          </p:cNvPr>
          <p:cNvCxnSpPr/>
          <p:nvPr/>
        </p:nvCxnSpPr>
        <p:spPr>
          <a:xfrm>
            <a:off x="0" y="576163"/>
            <a:ext cx="9215438" cy="0"/>
          </a:xfrm>
          <a:prstGeom prst="line">
            <a:avLst/>
          </a:prstGeom>
          <a:ln w="12700">
            <a:solidFill>
              <a:srgbClr val="C2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Datumsplatzhalter 30">
            <a:extLst>
              <a:ext uri="{FF2B5EF4-FFF2-40B4-BE49-F238E27FC236}">
                <a16:creationId xmlns:a16="http://schemas.microsoft.com/office/drawing/2014/main" id="{C6A1126F-F439-448C-B4C0-8937B56FCA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1255" y="288131"/>
            <a:ext cx="50400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80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de-DE"/>
              <a:t>05.12.2025</a:t>
            </a:r>
            <a:endParaRPr lang="en-US"/>
          </a:p>
        </p:txBody>
      </p:sp>
      <p:sp>
        <p:nvSpPr>
          <p:cNvPr id="32" name="Fußzeilenplatzhalter 31">
            <a:extLst>
              <a:ext uri="{FF2B5EF4-FFF2-40B4-BE49-F238E27FC236}">
                <a16:creationId xmlns:a16="http://schemas.microsoft.com/office/drawing/2014/main" id="{AF6C9F38-D91A-4AB3-8213-3BA0A947F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9951" y="288131"/>
            <a:ext cx="5256000" cy="144000"/>
          </a:xfrm>
          <a:prstGeom prst="rect">
            <a:avLst/>
          </a:prstGeom>
        </p:spPr>
        <p:txBody>
          <a:bodyPr vert="horz" wrap="none" lIns="72000" tIns="0" rIns="0" bIns="0" rtlCol="0" anchor="ctr"/>
          <a:lstStyle>
            <a:lvl1pPr algn="l">
              <a:defRPr sz="80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33" name="Foliennummernplatzhalter 32">
            <a:extLst>
              <a:ext uri="{FF2B5EF4-FFF2-40B4-BE49-F238E27FC236}">
                <a16:creationId xmlns:a16="http://schemas.microsoft.com/office/drawing/2014/main" id="{2B2E0B9A-E114-4A8C-8624-65A071094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23367" y="288147"/>
            <a:ext cx="216000" cy="144000"/>
          </a:xfrm>
          <a:prstGeom prst="rect">
            <a:avLst/>
          </a:prstGeom>
        </p:spPr>
        <p:txBody>
          <a:bodyPr vert="horz" wrap="none" lIns="36000" tIns="0" rIns="0" bIns="0" rtlCol="0" anchor="ctr"/>
          <a:lstStyle>
            <a:lvl1pPr algn="l">
              <a:defRPr sz="800">
                <a:solidFill>
                  <a:schemeClr val="accent3"/>
                </a:solidFill>
                <a:latin typeface="+mn-lt"/>
              </a:defRPr>
            </a:lvl1pPr>
          </a:lstStyle>
          <a:p>
            <a:fld id="{915ABBCB-2658-4656-B2C4-43A1F658563B}" type="slidenum">
              <a:rPr lang="en-US" smtClean="0"/>
              <a:t>‹Nr.›</a:t>
            </a:fld>
            <a:endParaRPr lang="en-US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0B513A51-74B2-4394-A301-5C6DE9C9607B}"/>
              </a:ext>
            </a:extLst>
          </p:cNvPr>
          <p:cNvGrpSpPr>
            <a:grpSpLocks noChangeAspect="1"/>
          </p:cNvGrpSpPr>
          <p:nvPr/>
        </p:nvGrpSpPr>
        <p:grpSpPr bwMode="ltGray">
          <a:xfrm>
            <a:off x="7682056" y="21039"/>
            <a:ext cx="1104108" cy="739329"/>
            <a:chOff x="7682056" y="-1340"/>
            <a:chExt cx="1104108" cy="739329"/>
          </a:xfrm>
        </p:grpSpPr>
        <p:sp>
          <p:nvSpPr>
            <p:cNvPr id="35" name="Rectangle 23">
              <a:extLst>
                <a:ext uri="{FF2B5EF4-FFF2-40B4-BE49-F238E27FC236}">
                  <a16:creationId xmlns:a16="http://schemas.microsoft.com/office/drawing/2014/main" id="{83FC8CB0-9377-43DD-A543-4CC7FDF5F7BF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7682056" y="-1340"/>
              <a:ext cx="1104108" cy="739329"/>
            </a:xfrm>
            <a:prstGeom prst="rect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24">
              <a:extLst>
                <a:ext uri="{FF2B5EF4-FFF2-40B4-BE49-F238E27FC236}">
                  <a16:creationId xmlns:a16="http://schemas.microsoft.com/office/drawing/2014/main" id="{E18C45ED-ED04-41D3-A1DA-C162BCBCEEF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8398179" y="246595"/>
              <a:ext cx="216995" cy="186868"/>
            </a:xfrm>
            <a:custGeom>
              <a:avLst/>
              <a:gdLst>
                <a:gd name="T0" fmla="*/ 0 w 333"/>
                <a:gd name="T1" fmla="*/ 0 h 287"/>
                <a:gd name="T2" fmla="*/ 0 w 333"/>
                <a:gd name="T3" fmla="*/ 162 h 287"/>
                <a:gd name="T4" fmla="*/ 167 w 333"/>
                <a:gd name="T5" fmla="*/ 224 h 287"/>
                <a:gd name="T6" fmla="*/ 235 w 333"/>
                <a:gd name="T7" fmla="*/ 255 h 287"/>
                <a:gd name="T8" fmla="*/ 333 w 333"/>
                <a:gd name="T9" fmla="*/ 162 h 287"/>
                <a:gd name="T10" fmla="*/ 333 w 333"/>
                <a:gd name="T11" fmla="*/ 0 h 287"/>
                <a:gd name="T12" fmla="*/ 274 w 333"/>
                <a:gd name="T13" fmla="*/ 0 h 287"/>
                <a:gd name="T14" fmla="*/ 274 w 333"/>
                <a:gd name="T15" fmla="*/ 163 h 287"/>
                <a:gd name="T16" fmla="*/ 196 w 333"/>
                <a:gd name="T17" fmla="*/ 163 h 287"/>
                <a:gd name="T18" fmla="*/ 196 w 333"/>
                <a:gd name="T19" fmla="*/ 0 h 287"/>
                <a:gd name="T20" fmla="*/ 137 w 333"/>
                <a:gd name="T21" fmla="*/ 0 h 287"/>
                <a:gd name="T22" fmla="*/ 137 w 333"/>
                <a:gd name="T23" fmla="*/ 163 h 287"/>
                <a:gd name="T24" fmla="*/ 98 w 333"/>
                <a:gd name="T25" fmla="*/ 201 h 287"/>
                <a:gd name="T26" fmla="*/ 59 w 333"/>
                <a:gd name="T27" fmla="*/ 163 h 287"/>
                <a:gd name="T28" fmla="*/ 59 w 333"/>
                <a:gd name="T29" fmla="*/ 0 h 287"/>
                <a:gd name="T30" fmla="*/ 0 w 333"/>
                <a:gd name="T31" fmla="*/ 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3" h="287">
                  <a:moveTo>
                    <a:pt x="0" y="0"/>
                  </a:moveTo>
                  <a:lnTo>
                    <a:pt x="0" y="162"/>
                  </a:lnTo>
                  <a:cubicBezTo>
                    <a:pt x="3" y="248"/>
                    <a:pt x="108" y="287"/>
                    <a:pt x="167" y="224"/>
                  </a:cubicBezTo>
                  <a:cubicBezTo>
                    <a:pt x="184" y="244"/>
                    <a:pt x="209" y="255"/>
                    <a:pt x="235" y="255"/>
                  </a:cubicBezTo>
                  <a:cubicBezTo>
                    <a:pt x="287" y="256"/>
                    <a:pt x="331" y="215"/>
                    <a:pt x="333" y="162"/>
                  </a:cubicBezTo>
                  <a:lnTo>
                    <a:pt x="333" y="0"/>
                  </a:lnTo>
                  <a:lnTo>
                    <a:pt x="274" y="0"/>
                  </a:lnTo>
                  <a:lnTo>
                    <a:pt x="274" y="163"/>
                  </a:lnTo>
                  <a:cubicBezTo>
                    <a:pt x="272" y="213"/>
                    <a:pt x="198" y="213"/>
                    <a:pt x="196" y="163"/>
                  </a:cubicBezTo>
                  <a:lnTo>
                    <a:pt x="196" y="0"/>
                  </a:lnTo>
                  <a:lnTo>
                    <a:pt x="137" y="0"/>
                  </a:lnTo>
                  <a:lnTo>
                    <a:pt x="137" y="163"/>
                  </a:lnTo>
                  <a:cubicBezTo>
                    <a:pt x="137" y="184"/>
                    <a:pt x="119" y="201"/>
                    <a:pt x="98" y="201"/>
                  </a:cubicBezTo>
                  <a:cubicBezTo>
                    <a:pt x="77" y="201"/>
                    <a:pt x="60" y="184"/>
                    <a:pt x="59" y="163"/>
                  </a:cubicBezTo>
                  <a:lnTo>
                    <a:pt x="5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25">
              <a:extLst>
                <a:ext uri="{FF2B5EF4-FFF2-40B4-BE49-F238E27FC236}">
                  <a16:creationId xmlns:a16="http://schemas.microsoft.com/office/drawing/2014/main" id="{DCF299C9-47A0-4FEC-95F4-EC8CEB959BD4}"/>
                </a:ext>
              </a:extLst>
            </p:cNvPr>
            <p:cNvSpPr>
              <a:spLocks/>
            </p:cNvSpPr>
            <p:nvPr/>
          </p:nvSpPr>
          <p:spPr bwMode="ltGray">
            <a:xfrm>
              <a:off x="8208869" y="236011"/>
              <a:ext cx="176283" cy="183204"/>
            </a:xfrm>
            <a:custGeom>
              <a:avLst/>
              <a:gdLst>
                <a:gd name="T0" fmla="*/ 269 w 271"/>
                <a:gd name="T1" fmla="*/ 157 h 281"/>
                <a:gd name="T2" fmla="*/ 271 w 271"/>
                <a:gd name="T3" fmla="*/ 137 h 281"/>
                <a:gd name="T4" fmla="*/ 153 w 271"/>
                <a:gd name="T5" fmla="*/ 7 h 281"/>
                <a:gd name="T6" fmla="*/ 12 w 271"/>
                <a:gd name="T7" fmla="*/ 113 h 281"/>
                <a:gd name="T8" fmla="*/ 104 w 271"/>
                <a:gd name="T9" fmla="*/ 263 h 281"/>
                <a:gd name="T10" fmla="*/ 262 w 271"/>
                <a:gd name="T11" fmla="*/ 184 h 281"/>
                <a:gd name="T12" fmla="*/ 201 w 271"/>
                <a:gd name="T13" fmla="*/ 184 h 281"/>
                <a:gd name="T14" fmla="*/ 64 w 271"/>
                <a:gd name="T15" fmla="*/ 130 h 281"/>
                <a:gd name="T16" fmla="*/ 209 w 271"/>
                <a:gd name="T17" fmla="*/ 103 h 281"/>
                <a:gd name="T18" fmla="*/ 116 w 271"/>
                <a:gd name="T19" fmla="*/ 103 h 281"/>
                <a:gd name="T20" fmla="*/ 116 w 271"/>
                <a:gd name="T21" fmla="*/ 157 h 281"/>
                <a:gd name="T22" fmla="*/ 269 w 271"/>
                <a:gd name="T23" fmla="*/ 157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281">
                  <a:moveTo>
                    <a:pt x="269" y="157"/>
                  </a:moveTo>
                  <a:cubicBezTo>
                    <a:pt x="271" y="150"/>
                    <a:pt x="271" y="144"/>
                    <a:pt x="271" y="137"/>
                  </a:cubicBezTo>
                  <a:cubicBezTo>
                    <a:pt x="271" y="70"/>
                    <a:pt x="220" y="13"/>
                    <a:pt x="153" y="7"/>
                  </a:cubicBezTo>
                  <a:cubicBezTo>
                    <a:pt x="86" y="0"/>
                    <a:pt x="25" y="46"/>
                    <a:pt x="12" y="113"/>
                  </a:cubicBezTo>
                  <a:cubicBezTo>
                    <a:pt x="0" y="179"/>
                    <a:pt x="39" y="244"/>
                    <a:pt x="104" y="263"/>
                  </a:cubicBezTo>
                  <a:cubicBezTo>
                    <a:pt x="169" y="281"/>
                    <a:pt x="238" y="247"/>
                    <a:pt x="262" y="184"/>
                  </a:cubicBezTo>
                  <a:lnTo>
                    <a:pt x="201" y="184"/>
                  </a:lnTo>
                  <a:cubicBezTo>
                    <a:pt x="154" y="245"/>
                    <a:pt x="57" y="206"/>
                    <a:pt x="64" y="130"/>
                  </a:cubicBezTo>
                  <a:cubicBezTo>
                    <a:pt x="72" y="53"/>
                    <a:pt x="175" y="34"/>
                    <a:pt x="209" y="103"/>
                  </a:cubicBezTo>
                  <a:lnTo>
                    <a:pt x="116" y="103"/>
                  </a:lnTo>
                  <a:lnTo>
                    <a:pt x="116" y="157"/>
                  </a:lnTo>
                  <a:lnTo>
                    <a:pt x="269" y="157"/>
                  </a:lnTo>
                  <a:close/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6C17399E-4CB7-4794-AA31-56EB510FB90C}"/>
                </a:ext>
              </a:extLst>
            </p:cNvPr>
            <p:cNvSpPr>
              <a:spLocks noEditPoints="1"/>
            </p:cNvSpPr>
            <p:nvPr/>
          </p:nvSpPr>
          <p:spPr bwMode="ltGray">
            <a:xfrm>
              <a:off x="8032586" y="170057"/>
              <a:ext cx="170176" cy="242643"/>
            </a:xfrm>
            <a:custGeom>
              <a:avLst/>
              <a:gdLst>
                <a:gd name="T0" fmla="*/ 148 w 261"/>
                <a:gd name="T1" fmla="*/ 316 h 372"/>
                <a:gd name="T2" fmla="*/ 130 w 261"/>
                <a:gd name="T3" fmla="*/ 318 h 372"/>
                <a:gd name="T4" fmla="*/ 101 w 261"/>
                <a:gd name="T5" fmla="*/ 312 h 372"/>
                <a:gd name="T6" fmla="*/ 136 w 261"/>
                <a:gd name="T7" fmla="*/ 164 h 372"/>
                <a:gd name="T8" fmla="*/ 148 w 261"/>
                <a:gd name="T9" fmla="*/ 316 h 372"/>
                <a:gd name="T10" fmla="*/ 205 w 261"/>
                <a:gd name="T11" fmla="*/ 0 h 372"/>
                <a:gd name="T12" fmla="*/ 205 w 261"/>
                <a:gd name="T13" fmla="*/ 138 h 372"/>
                <a:gd name="T14" fmla="*/ 130 w 261"/>
                <a:gd name="T15" fmla="*/ 113 h 372"/>
                <a:gd name="T16" fmla="*/ 0 w 261"/>
                <a:gd name="T17" fmla="*/ 242 h 372"/>
                <a:gd name="T18" fmla="*/ 130 w 261"/>
                <a:gd name="T19" fmla="*/ 372 h 372"/>
                <a:gd name="T20" fmla="*/ 205 w 261"/>
                <a:gd name="T21" fmla="*/ 347 h 372"/>
                <a:gd name="T22" fmla="*/ 205 w 261"/>
                <a:gd name="T23" fmla="*/ 369 h 372"/>
                <a:gd name="T24" fmla="*/ 261 w 261"/>
                <a:gd name="T25" fmla="*/ 369 h 372"/>
                <a:gd name="T26" fmla="*/ 261 w 261"/>
                <a:gd name="T27" fmla="*/ 0 h 372"/>
                <a:gd name="T28" fmla="*/ 205 w 261"/>
                <a:gd name="T29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1" h="372">
                  <a:moveTo>
                    <a:pt x="148" y="316"/>
                  </a:moveTo>
                  <a:cubicBezTo>
                    <a:pt x="142" y="318"/>
                    <a:pt x="136" y="318"/>
                    <a:pt x="130" y="318"/>
                  </a:cubicBezTo>
                  <a:cubicBezTo>
                    <a:pt x="120" y="318"/>
                    <a:pt x="110" y="316"/>
                    <a:pt x="101" y="312"/>
                  </a:cubicBezTo>
                  <a:cubicBezTo>
                    <a:pt x="20" y="279"/>
                    <a:pt x="49" y="157"/>
                    <a:pt x="136" y="164"/>
                  </a:cubicBezTo>
                  <a:cubicBezTo>
                    <a:pt x="224" y="171"/>
                    <a:pt x="234" y="296"/>
                    <a:pt x="148" y="316"/>
                  </a:cubicBezTo>
                  <a:moveTo>
                    <a:pt x="205" y="0"/>
                  </a:moveTo>
                  <a:lnTo>
                    <a:pt x="205" y="138"/>
                  </a:lnTo>
                  <a:cubicBezTo>
                    <a:pt x="184" y="122"/>
                    <a:pt x="157" y="113"/>
                    <a:pt x="130" y="113"/>
                  </a:cubicBezTo>
                  <a:cubicBezTo>
                    <a:pt x="59" y="113"/>
                    <a:pt x="0" y="171"/>
                    <a:pt x="0" y="242"/>
                  </a:cubicBezTo>
                  <a:cubicBezTo>
                    <a:pt x="0" y="314"/>
                    <a:pt x="59" y="372"/>
                    <a:pt x="130" y="372"/>
                  </a:cubicBezTo>
                  <a:cubicBezTo>
                    <a:pt x="157" y="372"/>
                    <a:pt x="184" y="363"/>
                    <a:pt x="205" y="347"/>
                  </a:cubicBezTo>
                  <a:lnTo>
                    <a:pt x="205" y="369"/>
                  </a:lnTo>
                  <a:lnTo>
                    <a:pt x="261" y="369"/>
                  </a:lnTo>
                  <a:lnTo>
                    <a:pt x="261" y="0"/>
                  </a:lnTo>
                  <a:lnTo>
                    <a:pt x="205" y="0"/>
                  </a:lnTo>
                  <a:close/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27">
              <a:extLst>
                <a:ext uri="{FF2B5EF4-FFF2-40B4-BE49-F238E27FC236}">
                  <a16:creationId xmlns:a16="http://schemas.microsoft.com/office/drawing/2014/main" id="{2EBE080F-93F5-4210-BC0E-66F26D0AC1A1}"/>
                </a:ext>
              </a:extLst>
            </p:cNvPr>
            <p:cNvSpPr>
              <a:spLocks noEditPoints="1"/>
            </p:cNvSpPr>
            <p:nvPr/>
          </p:nvSpPr>
          <p:spPr bwMode="ltGray">
            <a:xfrm>
              <a:off x="7852639" y="170057"/>
              <a:ext cx="170176" cy="242643"/>
            </a:xfrm>
            <a:custGeom>
              <a:avLst/>
              <a:gdLst>
                <a:gd name="T0" fmla="*/ 160 w 261"/>
                <a:gd name="T1" fmla="*/ 312 h 372"/>
                <a:gd name="T2" fmla="*/ 131 w 261"/>
                <a:gd name="T3" fmla="*/ 319 h 372"/>
                <a:gd name="T4" fmla="*/ 114 w 261"/>
                <a:gd name="T5" fmla="*/ 316 h 372"/>
                <a:gd name="T6" fmla="*/ 125 w 261"/>
                <a:gd name="T7" fmla="*/ 165 h 372"/>
                <a:gd name="T8" fmla="*/ 160 w 261"/>
                <a:gd name="T9" fmla="*/ 312 h 372"/>
                <a:gd name="T10" fmla="*/ 131 w 261"/>
                <a:gd name="T11" fmla="*/ 113 h 372"/>
                <a:gd name="T12" fmla="*/ 56 w 261"/>
                <a:gd name="T13" fmla="*/ 138 h 372"/>
                <a:gd name="T14" fmla="*/ 56 w 261"/>
                <a:gd name="T15" fmla="*/ 0 h 372"/>
                <a:gd name="T16" fmla="*/ 0 w 261"/>
                <a:gd name="T17" fmla="*/ 0 h 372"/>
                <a:gd name="T18" fmla="*/ 0 w 261"/>
                <a:gd name="T19" fmla="*/ 369 h 372"/>
                <a:gd name="T20" fmla="*/ 56 w 261"/>
                <a:gd name="T21" fmla="*/ 369 h 372"/>
                <a:gd name="T22" fmla="*/ 56 w 261"/>
                <a:gd name="T23" fmla="*/ 347 h 372"/>
                <a:gd name="T24" fmla="*/ 131 w 261"/>
                <a:gd name="T25" fmla="*/ 372 h 372"/>
                <a:gd name="T26" fmla="*/ 261 w 261"/>
                <a:gd name="T27" fmla="*/ 242 h 372"/>
                <a:gd name="T28" fmla="*/ 131 w 261"/>
                <a:gd name="T29" fmla="*/ 113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1" h="372">
                  <a:moveTo>
                    <a:pt x="160" y="312"/>
                  </a:moveTo>
                  <a:cubicBezTo>
                    <a:pt x="151" y="316"/>
                    <a:pt x="141" y="319"/>
                    <a:pt x="131" y="319"/>
                  </a:cubicBezTo>
                  <a:cubicBezTo>
                    <a:pt x="125" y="318"/>
                    <a:pt x="119" y="318"/>
                    <a:pt x="114" y="316"/>
                  </a:cubicBezTo>
                  <a:cubicBezTo>
                    <a:pt x="28" y="296"/>
                    <a:pt x="38" y="172"/>
                    <a:pt x="125" y="165"/>
                  </a:cubicBezTo>
                  <a:cubicBezTo>
                    <a:pt x="212" y="158"/>
                    <a:pt x="241" y="279"/>
                    <a:pt x="160" y="312"/>
                  </a:cubicBezTo>
                  <a:close/>
                  <a:moveTo>
                    <a:pt x="131" y="113"/>
                  </a:moveTo>
                  <a:cubicBezTo>
                    <a:pt x="104" y="113"/>
                    <a:pt x="78" y="122"/>
                    <a:pt x="56" y="138"/>
                  </a:cubicBezTo>
                  <a:lnTo>
                    <a:pt x="56" y="0"/>
                  </a:lnTo>
                  <a:lnTo>
                    <a:pt x="0" y="0"/>
                  </a:lnTo>
                  <a:lnTo>
                    <a:pt x="0" y="369"/>
                  </a:lnTo>
                  <a:lnTo>
                    <a:pt x="56" y="369"/>
                  </a:lnTo>
                  <a:lnTo>
                    <a:pt x="56" y="347"/>
                  </a:lnTo>
                  <a:cubicBezTo>
                    <a:pt x="78" y="363"/>
                    <a:pt x="104" y="372"/>
                    <a:pt x="131" y="372"/>
                  </a:cubicBezTo>
                  <a:cubicBezTo>
                    <a:pt x="203" y="372"/>
                    <a:pt x="261" y="314"/>
                    <a:pt x="261" y="242"/>
                  </a:cubicBezTo>
                  <a:cubicBezTo>
                    <a:pt x="261" y="171"/>
                    <a:pt x="203" y="113"/>
                    <a:pt x="131" y="113"/>
                  </a:cubicBezTo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C0FE6EF4-F07A-4BEC-AF60-7AB3D6BD44C4}"/>
                </a:ext>
              </a:extLst>
            </p:cNvPr>
            <p:cNvSpPr>
              <a:spLocks noEditPoints="1"/>
            </p:cNvSpPr>
            <p:nvPr/>
          </p:nvSpPr>
          <p:spPr bwMode="ltGray">
            <a:xfrm>
              <a:off x="7852639" y="495346"/>
              <a:ext cx="762535" cy="71653"/>
            </a:xfrm>
            <a:custGeom>
              <a:avLst/>
              <a:gdLst>
                <a:gd name="T0" fmla="*/ 43 w 1170"/>
                <a:gd name="T1" fmla="*/ 53 h 110"/>
                <a:gd name="T2" fmla="*/ 48 w 1170"/>
                <a:gd name="T3" fmla="*/ 9 h 110"/>
                <a:gd name="T4" fmla="*/ 111 w 1170"/>
                <a:gd name="T5" fmla="*/ 47 h 110"/>
                <a:gd name="T6" fmla="*/ 61 w 1170"/>
                <a:gd name="T7" fmla="*/ 29 h 110"/>
                <a:gd name="T8" fmla="*/ 89 w 1170"/>
                <a:gd name="T9" fmla="*/ 41 h 110"/>
                <a:gd name="T10" fmla="*/ 149 w 1170"/>
                <a:gd name="T11" fmla="*/ 28 h 110"/>
                <a:gd name="T12" fmla="*/ 150 w 1170"/>
                <a:gd name="T13" fmla="*/ 75 h 110"/>
                <a:gd name="T14" fmla="*/ 140 w 1170"/>
                <a:gd name="T15" fmla="*/ 52 h 110"/>
                <a:gd name="T16" fmla="*/ 203 w 1170"/>
                <a:gd name="T17" fmla="*/ 35 h 110"/>
                <a:gd name="T18" fmla="*/ 187 w 1170"/>
                <a:gd name="T19" fmla="*/ 86 h 110"/>
                <a:gd name="T20" fmla="*/ 220 w 1170"/>
                <a:gd name="T21" fmla="*/ 29 h 110"/>
                <a:gd name="T22" fmla="*/ 229 w 1170"/>
                <a:gd name="T23" fmla="*/ 57 h 110"/>
                <a:gd name="T24" fmla="*/ 264 w 1170"/>
                <a:gd name="T25" fmla="*/ 91 h 110"/>
                <a:gd name="T26" fmla="*/ 279 w 1170"/>
                <a:gd name="T27" fmla="*/ 94 h 110"/>
                <a:gd name="T28" fmla="*/ 253 w 1170"/>
                <a:gd name="T29" fmla="*/ 73 h 110"/>
                <a:gd name="T30" fmla="*/ 312 w 1170"/>
                <a:gd name="T31" fmla="*/ 10 h 110"/>
                <a:gd name="T32" fmla="*/ 310 w 1170"/>
                <a:gd name="T33" fmla="*/ 41 h 110"/>
                <a:gd name="T34" fmla="*/ 372 w 1170"/>
                <a:gd name="T35" fmla="*/ 56 h 110"/>
                <a:gd name="T36" fmla="*/ 371 w 1170"/>
                <a:gd name="T37" fmla="*/ 69 h 110"/>
                <a:gd name="T38" fmla="*/ 357 w 1170"/>
                <a:gd name="T39" fmla="*/ 52 h 110"/>
                <a:gd name="T40" fmla="*/ 384 w 1170"/>
                <a:gd name="T41" fmla="*/ 79 h 110"/>
                <a:gd name="T42" fmla="*/ 500 w 1170"/>
                <a:gd name="T43" fmla="*/ 46 h 110"/>
                <a:gd name="T44" fmla="*/ 460 w 1170"/>
                <a:gd name="T45" fmla="*/ 46 h 110"/>
                <a:gd name="T46" fmla="*/ 448 w 1170"/>
                <a:gd name="T47" fmla="*/ 86 h 110"/>
                <a:gd name="T48" fmla="*/ 488 w 1170"/>
                <a:gd name="T49" fmla="*/ 86 h 110"/>
                <a:gd name="T50" fmla="*/ 577 w 1170"/>
                <a:gd name="T51" fmla="*/ 47 h 110"/>
                <a:gd name="T52" fmla="*/ 556 w 1170"/>
                <a:gd name="T53" fmla="*/ 40 h 110"/>
                <a:gd name="T54" fmla="*/ 548 w 1170"/>
                <a:gd name="T55" fmla="*/ 87 h 110"/>
                <a:gd name="T56" fmla="*/ 552 w 1170"/>
                <a:gd name="T57" fmla="*/ 76 h 110"/>
                <a:gd name="T58" fmla="*/ 632 w 1170"/>
                <a:gd name="T59" fmla="*/ 69 h 110"/>
                <a:gd name="T60" fmla="*/ 629 w 1170"/>
                <a:gd name="T61" fmla="*/ 31 h 110"/>
                <a:gd name="T62" fmla="*/ 611 w 1170"/>
                <a:gd name="T63" fmla="*/ 75 h 110"/>
                <a:gd name="T64" fmla="*/ 684 w 1170"/>
                <a:gd name="T65" fmla="*/ 69 h 110"/>
                <a:gd name="T66" fmla="*/ 680 w 1170"/>
                <a:gd name="T67" fmla="*/ 31 h 110"/>
                <a:gd name="T68" fmla="*/ 663 w 1170"/>
                <a:gd name="T69" fmla="*/ 75 h 110"/>
                <a:gd name="T70" fmla="*/ 743 w 1170"/>
                <a:gd name="T71" fmla="*/ 56 h 110"/>
                <a:gd name="T72" fmla="*/ 741 w 1170"/>
                <a:gd name="T73" fmla="*/ 70 h 110"/>
                <a:gd name="T74" fmla="*/ 727 w 1170"/>
                <a:gd name="T75" fmla="*/ 52 h 110"/>
                <a:gd name="T76" fmla="*/ 783 w 1170"/>
                <a:gd name="T77" fmla="*/ 28 h 110"/>
                <a:gd name="T78" fmla="*/ 756 w 1170"/>
                <a:gd name="T79" fmla="*/ 43 h 110"/>
                <a:gd name="T80" fmla="*/ 789 w 1170"/>
                <a:gd name="T81" fmla="*/ 41 h 110"/>
                <a:gd name="T82" fmla="*/ 805 w 1170"/>
                <a:gd name="T83" fmla="*/ 79 h 110"/>
                <a:gd name="T84" fmla="*/ 843 w 1170"/>
                <a:gd name="T85" fmla="*/ 9 h 110"/>
                <a:gd name="T86" fmla="*/ 900 w 1170"/>
                <a:gd name="T87" fmla="*/ 58 h 110"/>
                <a:gd name="T88" fmla="*/ 916 w 1170"/>
                <a:gd name="T89" fmla="*/ 61 h 110"/>
                <a:gd name="T90" fmla="*/ 924 w 1170"/>
                <a:gd name="T91" fmla="*/ 39 h 110"/>
                <a:gd name="T92" fmla="*/ 978 w 1170"/>
                <a:gd name="T93" fmla="*/ 28 h 110"/>
                <a:gd name="T94" fmla="*/ 977 w 1170"/>
                <a:gd name="T95" fmla="*/ 86 h 110"/>
                <a:gd name="T96" fmla="*/ 990 w 1170"/>
                <a:gd name="T97" fmla="*/ 75 h 110"/>
                <a:gd name="T98" fmla="*/ 1075 w 1170"/>
                <a:gd name="T99" fmla="*/ 56 h 110"/>
                <a:gd name="T100" fmla="*/ 1073 w 1170"/>
                <a:gd name="T101" fmla="*/ 70 h 110"/>
                <a:gd name="T102" fmla="*/ 1060 w 1170"/>
                <a:gd name="T103" fmla="*/ 52 h 110"/>
                <a:gd name="T104" fmla="*/ 1138 w 1170"/>
                <a:gd name="T105" fmla="*/ 47 h 110"/>
                <a:gd name="T106" fmla="*/ 1088 w 1170"/>
                <a:gd name="T107" fmla="*/ 29 h 110"/>
                <a:gd name="T108" fmla="*/ 1116 w 1170"/>
                <a:gd name="T109" fmla="*/ 41 h 110"/>
                <a:gd name="T110" fmla="*/ 1160 w 1170"/>
                <a:gd name="T111" fmla="*/ 7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0" h="110">
                  <a:moveTo>
                    <a:pt x="49" y="86"/>
                  </a:moveTo>
                  <a:lnTo>
                    <a:pt x="49" y="72"/>
                  </a:lnTo>
                  <a:lnTo>
                    <a:pt x="16" y="72"/>
                  </a:lnTo>
                  <a:lnTo>
                    <a:pt x="16" y="53"/>
                  </a:lnTo>
                  <a:lnTo>
                    <a:pt x="43" y="53"/>
                  </a:lnTo>
                  <a:lnTo>
                    <a:pt x="43" y="39"/>
                  </a:lnTo>
                  <a:lnTo>
                    <a:pt x="16" y="39"/>
                  </a:lnTo>
                  <a:lnTo>
                    <a:pt x="16" y="22"/>
                  </a:lnTo>
                  <a:lnTo>
                    <a:pt x="47" y="22"/>
                  </a:lnTo>
                  <a:lnTo>
                    <a:pt x="48" y="9"/>
                  </a:lnTo>
                  <a:lnTo>
                    <a:pt x="0" y="9"/>
                  </a:lnTo>
                  <a:lnTo>
                    <a:pt x="0" y="86"/>
                  </a:lnTo>
                  <a:lnTo>
                    <a:pt x="49" y="86"/>
                  </a:lnTo>
                  <a:close/>
                  <a:moveTo>
                    <a:pt x="111" y="86"/>
                  </a:moveTo>
                  <a:lnTo>
                    <a:pt x="111" y="47"/>
                  </a:lnTo>
                  <a:cubicBezTo>
                    <a:pt x="111" y="42"/>
                    <a:pt x="110" y="38"/>
                    <a:pt x="108" y="34"/>
                  </a:cubicBezTo>
                  <a:cubicBezTo>
                    <a:pt x="105" y="30"/>
                    <a:pt x="100" y="27"/>
                    <a:pt x="94" y="28"/>
                  </a:cubicBezTo>
                  <a:cubicBezTo>
                    <a:pt x="88" y="29"/>
                    <a:pt x="81" y="32"/>
                    <a:pt x="76" y="37"/>
                  </a:cubicBezTo>
                  <a:cubicBezTo>
                    <a:pt x="76" y="34"/>
                    <a:pt x="76" y="32"/>
                    <a:pt x="75" y="29"/>
                  </a:cubicBezTo>
                  <a:lnTo>
                    <a:pt x="61" y="29"/>
                  </a:lnTo>
                  <a:cubicBezTo>
                    <a:pt x="61" y="29"/>
                    <a:pt x="62" y="36"/>
                    <a:pt x="62" y="43"/>
                  </a:cubicBezTo>
                  <a:lnTo>
                    <a:pt x="62" y="86"/>
                  </a:lnTo>
                  <a:lnTo>
                    <a:pt x="77" y="86"/>
                  </a:lnTo>
                  <a:lnTo>
                    <a:pt x="77" y="47"/>
                  </a:lnTo>
                  <a:cubicBezTo>
                    <a:pt x="80" y="44"/>
                    <a:pt x="84" y="42"/>
                    <a:pt x="89" y="41"/>
                  </a:cubicBezTo>
                  <a:cubicBezTo>
                    <a:pt x="93" y="41"/>
                    <a:pt x="96" y="42"/>
                    <a:pt x="96" y="48"/>
                  </a:cubicBezTo>
                  <a:lnTo>
                    <a:pt x="96" y="86"/>
                  </a:lnTo>
                  <a:lnTo>
                    <a:pt x="111" y="86"/>
                  </a:lnTo>
                  <a:close/>
                  <a:moveTo>
                    <a:pt x="173" y="56"/>
                  </a:moveTo>
                  <a:cubicBezTo>
                    <a:pt x="173" y="43"/>
                    <a:pt x="168" y="28"/>
                    <a:pt x="149" y="28"/>
                  </a:cubicBezTo>
                  <a:cubicBezTo>
                    <a:pt x="132" y="28"/>
                    <a:pt x="124" y="42"/>
                    <a:pt x="124" y="58"/>
                  </a:cubicBezTo>
                  <a:cubicBezTo>
                    <a:pt x="124" y="68"/>
                    <a:pt x="127" y="87"/>
                    <a:pt x="148" y="87"/>
                  </a:cubicBezTo>
                  <a:cubicBezTo>
                    <a:pt x="156" y="87"/>
                    <a:pt x="165" y="85"/>
                    <a:pt x="172" y="81"/>
                  </a:cubicBezTo>
                  <a:lnTo>
                    <a:pt x="172" y="70"/>
                  </a:lnTo>
                  <a:cubicBezTo>
                    <a:pt x="165" y="73"/>
                    <a:pt x="158" y="75"/>
                    <a:pt x="150" y="75"/>
                  </a:cubicBezTo>
                  <a:cubicBezTo>
                    <a:pt x="144" y="75"/>
                    <a:pt x="140" y="71"/>
                    <a:pt x="140" y="61"/>
                  </a:cubicBezTo>
                  <a:lnTo>
                    <a:pt x="173" y="61"/>
                  </a:lnTo>
                  <a:cubicBezTo>
                    <a:pt x="173" y="61"/>
                    <a:pt x="173" y="57"/>
                    <a:pt x="173" y="56"/>
                  </a:cubicBezTo>
                  <a:moveTo>
                    <a:pt x="158" y="52"/>
                  </a:moveTo>
                  <a:lnTo>
                    <a:pt x="140" y="52"/>
                  </a:lnTo>
                  <a:cubicBezTo>
                    <a:pt x="140" y="47"/>
                    <a:pt x="142" y="39"/>
                    <a:pt x="149" y="39"/>
                  </a:cubicBezTo>
                  <a:cubicBezTo>
                    <a:pt x="157" y="39"/>
                    <a:pt x="158" y="47"/>
                    <a:pt x="158" y="52"/>
                  </a:cubicBezTo>
                  <a:moveTo>
                    <a:pt x="220" y="29"/>
                  </a:moveTo>
                  <a:cubicBezTo>
                    <a:pt x="220" y="29"/>
                    <a:pt x="220" y="28"/>
                    <a:pt x="214" y="28"/>
                  </a:cubicBezTo>
                  <a:cubicBezTo>
                    <a:pt x="209" y="29"/>
                    <a:pt x="205" y="31"/>
                    <a:pt x="203" y="35"/>
                  </a:cubicBezTo>
                  <a:cubicBezTo>
                    <a:pt x="202" y="35"/>
                    <a:pt x="202" y="35"/>
                    <a:pt x="202" y="36"/>
                  </a:cubicBezTo>
                  <a:cubicBezTo>
                    <a:pt x="202" y="33"/>
                    <a:pt x="201" y="31"/>
                    <a:pt x="201" y="29"/>
                  </a:cubicBezTo>
                  <a:lnTo>
                    <a:pt x="186" y="29"/>
                  </a:lnTo>
                  <a:cubicBezTo>
                    <a:pt x="187" y="34"/>
                    <a:pt x="187" y="38"/>
                    <a:pt x="187" y="43"/>
                  </a:cubicBezTo>
                  <a:lnTo>
                    <a:pt x="187" y="86"/>
                  </a:lnTo>
                  <a:lnTo>
                    <a:pt x="202" y="86"/>
                  </a:lnTo>
                  <a:lnTo>
                    <a:pt x="202" y="46"/>
                  </a:lnTo>
                  <a:cubicBezTo>
                    <a:pt x="205" y="43"/>
                    <a:pt x="208" y="41"/>
                    <a:pt x="212" y="41"/>
                  </a:cubicBezTo>
                  <a:cubicBezTo>
                    <a:pt x="214" y="41"/>
                    <a:pt x="217" y="41"/>
                    <a:pt x="219" y="41"/>
                  </a:cubicBezTo>
                  <a:lnTo>
                    <a:pt x="220" y="29"/>
                  </a:lnTo>
                  <a:close/>
                  <a:moveTo>
                    <a:pt x="281" y="29"/>
                  </a:moveTo>
                  <a:lnTo>
                    <a:pt x="266" y="29"/>
                  </a:lnTo>
                  <a:cubicBezTo>
                    <a:pt x="266" y="30"/>
                    <a:pt x="266" y="31"/>
                    <a:pt x="266" y="33"/>
                  </a:cubicBezTo>
                  <a:cubicBezTo>
                    <a:pt x="262" y="30"/>
                    <a:pt x="257" y="28"/>
                    <a:pt x="252" y="28"/>
                  </a:cubicBezTo>
                  <a:cubicBezTo>
                    <a:pt x="236" y="28"/>
                    <a:pt x="229" y="40"/>
                    <a:pt x="229" y="57"/>
                  </a:cubicBezTo>
                  <a:cubicBezTo>
                    <a:pt x="229" y="68"/>
                    <a:pt x="232" y="86"/>
                    <a:pt x="249" y="86"/>
                  </a:cubicBezTo>
                  <a:cubicBezTo>
                    <a:pt x="255" y="86"/>
                    <a:pt x="261" y="83"/>
                    <a:pt x="265" y="78"/>
                  </a:cubicBezTo>
                  <a:cubicBezTo>
                    <a:pt x="265" y="78"/>
                    <a:pt x="265" y="82"/>
                    <a:pt x="265" y="83"/>
                  </a:cubicBezTo>
                  <a:lnTo>
                    <a:pt x="265" y="87"/>
                  </a:lnTo>
                  <a:cubicBezTo>
                    <a:pt x="265" y="88"/>
                    <a:pt x="264" y="90"/>
                    <a:pt x="264" y="91"/>
                  </a:cubicBezTo>
                  <a:cubicBezTo>
                    <a:pt x="263" y="95"/>
                    <a:pt x="260" y="97"/>
                    <a:pt x="254" y="97"/>
                  </a:cubicBezTo>
                  <a:cubicBezTo>
                    <a:pt x="246" y="97"/>
                    <a:pt x="239" y="95"/>
                    <a:pt x="232" y="92"/>
                  </a:cubicBezTo>
                  <a:lnTo>
                    <a:pt x="231" y="106"/>
                  </a:lnTo>
                  <a:cubicBezTo>
                    <a:pt x="238" y="109"/>
                    <a:pt x="246" y="110"/>
                    <a:pt x="254" y="110"/>
                  </a:cubicBezTo>
                  <a:cubicBezTo>
                    <a:pt x="268" y="110"/>
                    <a:pt x="277" y="105"/>
                    <a:pt x="279" y="94"/>
                  </a:cubicBezTo>
                  <a:cubicBezTo>
                    <a:pt x="280" y="91"/>
                    <a:pt x="280" y="88"/>
                    <a:pt x="280" y="85"/>
                  </a:cubicBezTo>
                  <a:lnTo>
                    <a:pt x="280" y="43"/>
                  </a:lnTo>
                  <a:cubicBezTo>
                    <a:pt x="280" y="36"/>
                    <a:pt x="281" y="29"/>
                    <a:pt x="281" y="29"/>
                  </a:cubicBezTo>
                  <a:moveTo>
                    <a:pt x="265" y="67"/>
                  </a:moveTo>
                  <a:cubicBezTo>
                    <a:pt x="262" y="71"/>
                    <a:pt x="258" y="73"/>
                    <a:pt x="253" y="73"/>
                  </a:cubicBezTo>
                  <a:cubicBezTo>
                    <a:pt x="246" y="73"/>
                    <a:pt x="244" y="63"/>
                    <a:pt x="244" y="57"/>
                  </a:cubicBezTo>
                  <a:cubicBezTo>
                    <a:pt x="244" y="51"/>
                    <a:pt x="245" y="40"/>
                    <a:pt x="254" y="40"/>
                  </a:cubicBezTo>
                  <a:cubicBezTo>
                    <a:pt x="258" y="40"/>
                    <a:pt x="261" y="41"/>
                    <a:pt x="265" y="43"/>
                  </a:cubicBezTo>
                  <a:lnTo>
                    <a:pt x="265" y="67"/>
                  </a:lnTo>
                  <a:close/>
                  <a:moveTo>
                    <a:pt x="312" y="10"/>
                  </a:moveTo>
                  <a:cubicBezTo>
                    <a:pt x="312" y="5"/>
                    <a:pt x="308" y="0"/>
                    <a:pt x="302" y="0"/>
                  </a:cubicBezTo>
                  <a:cubicBezTo>
                    <a:pt x="290" y="0"/>
                    <a:pt x="290" y="19"/>
                    <a:pt x="302" y="19"/>
                  </a:cubicBezTo>
                  <a:cubicBezTo>
                    <a:pt x="307" y="19"/>
                    <a:pt x="312" y="15"/>
                    <a:pt x="312" y="10"/>
                  </a:cubicBezTo>
                  <a:close/>
                  <a:moveTo>
                    <a:pt x="310" y="86"/>
                  </a:moveTo>
                  <a:lnTo>
                    <a:pt x="310" y="41"/>
                  </a:lnTo>
                  <a:cubicBezTo>
                    <a:pt x="310" y="37"/>
                    <a:pt x="310" y="33"/>
                    <a:pt x="309" y="29"/>
                  </a:cubicBezTo>
                  <a:lnTo>
                    <a:pt x="295" y="29"/>
                  </a:lnTo>
                  <a:lnTo>
                    <a:pt x="295" y="86"/>
                  </a:lnTo>
                  <a:lnTo>
                    <a:pt x="310" y="86"/>
                  </a:lnTo>
                  <a:close/>
                  <a:moveTo>
                    <a:pt x="372" y="56"/>
                  </a:moveTo>
                  <a:cubicBezTo>
                    <a:pt x="372" y="43"/>
                    <a:pt x="367" y="28"/>
                    <a:pt x="348" y="28"/>
                  </a:cubicBezTo>
                  <a:cubicBezTo>
                    <a:pt x="331" y="28"/>
                    <a:pt x="323" y="42"/>
                    <a:pt x="323" y="58"/>
                  </a:cubicBezTo>
                  <a:cubicBezTo>
                    <a:pt x="323" y="68"/>
                    <a:pt x="326" y="87"/>
                    <a:pt x="347" y="87"/>
                  </a:cubicBezTo>
                  <a:cubicBezTo>
                    <a:pt x="355" y="87"/>
                    <a:pt x="364" y="85"/>
                    <a:pt x="371" y="81"/>
                  </a:cubicBezTo>
                  <a:lnTo>
                    <a:pt x="371" y="69"/>
                  </a:lnTo>
                  <a:cubicBezTo>
                    <a:pt x="364" y="73"/>
                    <a:pt x="357" y="75"/>
                    <a:pt x="349" y="75"/>
                  </a:cubicBezTo>
                  <a:cubicBezTo>
                    <a:pt x="342" y="75"/>
                    <a:pt x="339" y="71"/>
                    <a:pt x="339" y="61"/>
                  </a:cubicBezTo>
                  <a:lnTo>
                    <a:pt x="372" y="61"/>
                  </a:lnTo>
                  <a:cubicBezTo>
                    <a:pt x="372" y="61"/>
                    <a:pt x="372" y="57"/>
                    <a:pt x="372" y="56"/>
                  </a:cubicBezTo>
                  <a:moveTo>
                    <a:pt x="357" y="52"/>
                  </a:moveTo>
                  <a:lnTo>
                    <a:pt x="339" y="52"/>
                  </a:lnTo>
                  <a:cubicBezTo>
                    <a:pt x="339" y="47"/>
                    <a:pt x="341" y="39"/>
                    <a:pt x="348" y="39"/>
                  </a:cubicBezTo>
                  <a:cubicBezTo>
                    <a:pt x="356" y="39"/>
                    <a:pt x="357" y="47"/>
                    <a:pt x="357" y="52"/>
                  </a:cubicBezTo>
                  <a:moveTo>
                    <a:pt x="403" y="79"/>
                  </a:moveTo>
                  <a:cubicBezTo>
                    <a:pt x="402" y="67"/>
                    <a:pt x="385" y="67"/>
                    <a:pt x="384" y="79"/>
                  </a:cubicBezTo>
                  <a:cubicBezTo>
                    <a:pt x="384" y="84"/>
                    <a:pt x="388" y="88"/>
                    <a:pt x="394" y="87"/>
                  </a:cubicBezTo>
                  <a:cubicBezTo>
                    <a:pt x="399" y="88"/>
                    <a:pt x="403" y="84"/>
                    <a:pt x="403" y="79"/>
                  </a:cubicBezTo>
                  <a:close/>
                  <a:moveTo>
                    <a:pt x="525" y="10"/>
                  </a:moveTo>
                  <a:lnTo>
                    <a:pt x="509" y="9"/>
                  </a:lnTo>
                  <a:lnTo>
                    <a:pt x="500" y="46"/>
                  </a:lnTo>
                  <a:cubicBezTo>
                    <a:pt x="499" y="52"/>
                    <a:pt x="497" y="63"/>
                    <a:pt x="497" y="65"/>
                  </a:cubicBezTo>
                  <a:cubicBezTo>
                    <a:pt x="496" y="63"/>
                    <a:pt x="494" y="52"/>
                    <a:pt x="493" y="46"/>
                  </a:cubicBezTo>
                  <a:lnTo>
                    <a:pt x="485" y="9"/>
                  </a:lnTo>
                  <a:lnTo>
                    <a:pt x="468" y="9"/>
                  </a:lnTo>
                  <a:lnTo>
                    <a:pt x="460" y="46"/>
                  </a:lnTo>
                  <a:cubicBezTo>
                    <a:pt x="458" y="52"/>
                    <a:pt x="457" y="62"/>
                    <a:pt x="456" y="65"/>
                  </a:cubicBezTo>
                  <a:cubicBezTo>
                    <a:pt x="456" y="62"/>
                    <a:pt x="454" y="52"/>
                    <a:pt x="453" y="46"/>
                  </a:cubicBezTo>
                  <a:lnTo>
                    <a:pt x="444" y="8"/>
                  </a:lnTo>
                  <a:lnTo>
                    <a:pt x="427" y="9"/>
                  </a:lnTo>
                  <a:lnTo>
                    <a:pt x="448" y="86"/>
                  </a:lnTo>
                  <a:lnTo>
                    <a:pt x="464" y="86"/>
                  </a:lnTo>
                  <a:lnTo>
                    <a:pt x="472" y="51"/>
                  </a:lnTo>
                  <a:cubicBezTo>
                    <a:pt x="473" y="45"/>
                    <a:pt x="476" y="31"/>
                    <a:pt x="476" y="31"/>
                  </a:cubicBezTo>
                  <a:cubicBezTo>
                    <a:pt x="476" y="31"/>
                    <a:pt x="479" y="45"/>
                    <a:pt x="480" y="51"/>
                  </a:cubicBezTo>
                  <a:lnTo>
                    <a:pt x="488" y="86"/>
                  </a:lnTo>
                  <a:lnTo>
                    <a:pt x="505" y="86"/>
                  </a:lnTo>
                  <a:lnTo>
                    <a:pt x="525" y="10"/>
                  </a:lnTo>
                  <a:close/>
                  <a:moveTo>
                    <a:pt x="578" y="86"/>
                  </a:moveTo>
                  <a:cubicBezTo>
                    <a:pt x="578" y="82"/>
                    <a:pt x="577" y="78"/>
                    <a:pt x="577" y="74"/>
                  </a:cubicBezTo>
                  <a:lnTo>
                    <a:pt x="577" y="47"/>
                  </a:lnTo>
                  <a:cubicBezTo>
                    <a:pt x="578" y="42"/>
                    <a:pt x="577" y="37"/>
                    <a:pt x="574" y="33"/>
                  </a:cubicBezTo>
                  <a:cubicBezTo>
                    <a:pt x="570" y="29"/>
                    <a:pt x="564" y="27"/>
                    <a:pt x="559" y="28"/>
                  </a:cubicBezTo>
                  <a:cubicBezTo>
                    <a:pt x="551" y="28"/>
                    <a:pt x="543" y="30"/>
                    <a:pt x="535" y="33"/>
                  </a:cubicBezTo>
                  <a:lnTo>
                    <a:pt x="536" y="45"/>
                  </a:lnTo>
                  <a:cubicBezTo>
                    <a:pt x="542" y="42"/>
                    <a:pt x="549" y="40"/>
                    <a:pt x="556" y="40"/>
                  </a:cubicBezTo>
                  <a:cubicBezTo>
                    <a:pt x="561" y="40"/>
                    <a:pt x="562" y="42"/>
                    <a:pt x="562" y="46"/>
                  </a:cubicBezTo>
                  <a:lnTo>
                    <a:pt x="562" y="52"/>
                  </a:lnTo>
                  <a:cubicBezTo>
                    <a:pt x="553" y="52"/>
                    <a:pt x="545" y="54"/>
                    <a:pt x="537" y="58"/>
                  </a:cubicBezTo>
                  <a:cubicBezTo>
                    <a:pt x="533" y="61"/>
                    <a:pt x="531" y="65"/>
                    <a:pt x="532" y="70"/>
                  </a:cubicBezTo>
                  <a:cubicBezTo>
                    <a:pt x="531" y="79"/>
                    <a:pt x="538" y="87"/>
                    <a:pt x="548" y="87"/>
                  </a:cubicBezTo>
                  <a:cubicBezTo>
                    <a:pt x="553" y="87"/>
                    <a:pt x="559" y="84"/>
                    <a:pt x="563" y="81"/>
                  </a:cubicBezTo>
                  <a:cubicBezTo>
                    <a:pt x="563" y="82"/>
                    <a:pt x="563" y="84"/>
                    <a:pt x="564" y="86"/>
                  </a:cubicBezTo>
                  <a:lnTo>
                    <a:pt x="578" y="86"/>
                  </a:lnTo>
                  <a:close/>
                  <a:moveTo>
                    <a:pt x="562" y="71"/>
                  </a:moveTo>
                  <a:cubicBezTo>
                    <a:pt x="559" y="74"/>
                    <a:pt x="556" y="75"/>
                    <a:pt x="552" y="76"/>
                  </a:cubicBezTo>
                  <a:cubicBezTo>
                    <a:pt x="548" y="76"/>
                    <a:pt x="547" y="72"/>
                    <a:pt x="547" y="69"/>
                  </a:cubicBezTo>
                  <a:cubicBezTo>
                    <a:pt x="547" y="67"/>
                    <a:pt x="547" y="65"/>
                    <a:pt x="549" y="64"/>
                  </a:cubicBezTo>
                  <a:cubicBezTo>
                    <a:pt x="553" y="62"/>
                    <a:pt x="557" y="60"/>
                    <a:pt x="562" y="61"/>
                  </a:cubicBezTo>
                  <a:lnTo>
                    <a:pt x="562" y="71"/>
                  </a:lnTo>
                  <a:close/>
                  <a:moveTo>
                    <a:pt x="632" y="69"/>
                  </a:moveTo>
                  <a:cubicBezTo>
                    <a:pt x="632" y="55"/>
                    <a:pt x="619" y="53"/>
                    <a:pt x="610" y="49"/>
                  </a:cubicBezTo>
                  <a:cubicBezTo>
                    <a:pt x="608" y="48"/>
                    <a:pt x="606" y="47"/>
                    <a:pt x="606" y="44"/>
                  </a:cubicBezTo>
                  <a:cubicBezTo>
                    <a:pt x="606" y="42"/>
                    <a:pt x="607" y="40"/>
                    <a:pt x="611" y="40"/>
                  </a:cubicBezTo>
                  <a:cubicBezTo>
                    <a:pt x="617" y="40"/>
                    <a:pt x="623" y="41"/>
                    <a:pt x="628" y="44"/>
                  </a:cubicBezTo>
                  <a:lnTo>
                    <a:pt x="629" y="31"/>
                  </a:lnTo>
                  <a:cubicBezTo>
                    <a:pt x="623" y="29"/>
                    <a:pt x="618" y="28"/>
                    <a:pt x="612" y="28"/>
                  </a:cubicBezTo>
                  <a:cubicBezTo>
                    <a:pt x="601" y="27"/>
                    <a:pt x="591" y="35"/>
                    <a:pt x="591" y="46"/>
                  </a:cubicBezTo>
                  <a:cubicBezTo>
                    <a:pt x="591" y="58"/>
                    <a:pt x="604" y="61"/>
                    <a:pt x="612" y="65"/>
                  </a:cubicBezTo>
                  <a:cubicBezTo>
                    <a:pt x="615" y="66"/>
                    <a:pt x="617" y="67"/>
                    <a:pt x="617" y="70"/>
                  </a:cubicBezTo>
                  <a:cubicBezTo>
                    <a:pt x="617" y="73"/>
                    <a:pt x="615" y="75"/>
                    <a:pt x="611" y="75"/>
                  </a:cubicBezTo>
                  <a:cubicBezTo>
                    <a:pt x="604" y="74"/>
                    <a:pt x="597" y="72"/>
                    <a:pt x="591" y="69"/>
                  </a:cubicBezTo>
                  <a:lnTo>
                    <a:pt x="590" y="83"/>
                  </a:lnTo>
                  <a:cubicBezTo>
                    <a:pt x="597" y="86"/>
                    <a:pt x="604" y="87"/>
                    <a:pt x="611" y="88"/>
                  </a:cubicBezTo>
                  <a:cubicBezTo>
                    <a:pt x="622" y="89"/>
                    <a:pt x="632" y="80"/>
                    <a:pt x="632" y="69"/>
                  </a:cubicBezTo>
                  <a:moveTo>
                    <a:pt x="684" y="69"/>
                  </a:moveTo>
                  <a:cubicBezTo>
                    <a:pt x="684" y="55"/>
                    <a:pt x="671" y="53"/>
                    <a:pt x="661" y="49"/>
                  </a:cubicBezTo>
                  <a:cubicBezTo>
                    <a:pt x="659" y="48"/>
                    <a:pt x="657" y="47"/>
                    <a:pt x="657" y="45"/>
                  </a:cubicBezTo>
                  <a:cubicBezTo>
                    <a:pt x="657" y="43"/>
                    <a:pt x="659" y="40"/>
                    <a:pt x="663" y="40"/>
                  </a:cubicBezTo>
                  <a:cubicBezTo>
                    <a:pt x="669" y="40"/>
                    <a:pt x="674" y="42"/>
                    <a:pt x="680" y="44"/>
                  </a:cubicBezTo>
                  <a:lnTo>
                    <a:pt x="680" y="31"/>
                  </a:lnTo>
                  <a:cubicBezTo>
                    <a:pt x="675" y="29"/>
                    <a:pt x="669" y="28"/>
                    <a:pt x="663" y="28"/>
                  </a:cubicBezTo>
                  <a:cubicBezTo>
                    <a:pt x="652" y="27"/>
                    <a:pt x="643" y="35"/>
                    <a:pt x="642" y="46"/>
                  </a:cubicBezTo>
                  <a:cubicBezTo>
                    <a:pt x="642" y="58"/>
                    <a:pt x="655" y="61"/>
                    <a:pt x="664" y="65"/>
                  </a:cubicBezTo>
                  <a:cubicBezTo>
                    <a:pt x="667" y="66"/>
                    <a:pt x="669" y="67"/>
                    <a:pt x="669" y="70"/>
                  </a:cubicBezTo>
                  <a:cubicBezTo>
                    <a:pt x="669" y="73"/>
                    <a:pt x="666" y="75"/>
                    <a:pt x="663" y="75"/>
                  </a:cubicBezTo>
                  <a:cubicBezTo>
                    <a:pt x="656" y="74"/>
                    <a:pt x="649" y="72"/>
                    <a:pt x="643" y="69"/>
                  </a:cubicBezTo>
                  <a:lnTo>
                    <a:pt x="642" y="83"/>
                  </a:lnTo>
                  <a:cubicBezTo>
                    <a:pt x="648" y="86"/>
                    <a:pt x="655" y="87"/>
                    <a:pt x="662" y="88"/>
                  </a:cubicBezTo>
                  <a:cubicBezTo>
                    <a:pt x="673" y="89"/>
                    <a:pt x="683" y="80"/>
                    <a:pt x="684" y="69"/>
                  </a:cubicBezTo>
                  <a:moveTo>
                    <a:pt x="743" y="56"/>
                  </a:moveTo>
                  <a:cubicBezTo>
                    <a:pt x="743" y="43"/>
                    <a:pt x="737" y="28"/>
                    <a:pt x="718" y="28"/>
                  </a:cubicBezTo>
                  <a:cubicBezTo>
                    <a:pt x="701" y="28"/>
                    <a:pt x="693" y="43"/>
                    <a:pt x="693" y="58"/>
                  </a:cubicBezTo>
                  <a:cubicBezTo>
                    <a:pt x="693" y="68"/>
                    <a:pt x="697" y="87"/>
                    <a:pt x="717" y="87"/>
                  </a:cubicBezTo>
                  <a:cubicBezTo>
                    <a:pt x="726" y="88"/>
                    <a:pt x="734" y="86"/>
                    <a:pt x="742" y="81"/>
                  </a:cubicBezTo>
                  <a:lnTo>
                    <a:pt x="741" y="70"/>
                  </a:lnTo>
                  <a:cubicBezTo>
                    <a:pt x="734" y="73"/>
                    <a:pt x="727" y="75"/>
                    <a:pt x="720" y="76"/>
                  </a:cubicBezTo>
                  <a:cubicBezTo>
                    <a:pt x="713" y="76"/>
                    <a:pt x="709" y="71"/>
                    <a:pt x="709" y="61"/>
                  </a:cubicBezTo>
                  <a:lnTo>
                    <a:pt x="742" y="61"/>
                  </a:lnTo>
                  <a:cubicBezTo>
                    <a:pt x="742" y="61"/>
                    <a:pt x="743" y="57"/>
                    <a:pt x="743" y="56"/>
                  </a:cubicBezTo>
                  <a:moveTo>
                    <a:pt x="727" y="52"/>
                  </a:moveTo>
                  <a:lnTo>
                    <a:pt x="710" y="52"/>
                  </a:lnTo>
                  <a:cubicBezTo>
                    <a:pt x="710" y="47"/>
                    <a:pt x="711" y="39"/>
                    <a:pt x="718" y="39"/>
                  </a:cubicBezTo>
                  <a:cubicBezTo>
                    <a:pt x="726" y="39"/>
                    <a:pt x="727" y="47"/>
                    <a:pt x="727" y="52"/>
                  </a:cubicBezTo>
                  <a:close/>
                  <a:moveTo>
                    <a:pt x="790" y="29"/>
                  </a:moveTo>
                  <a:cubicBezTo>
                    <a:pt x="790" y="29"/>
                    <a:pt x="789" y="28"/>
                    <a:pt x="783" y="28"/>
                  </a:cubicBezTo>
                  <a:cubicBezTo>
                    <a:pt x="779" y="29"/>
                    <a:pt x="775" y="31"/>
                    <a:pt x="772" y="35"/>
                  </a:cubicBezTo>
                  <a:cubicBezTo>
                    <a:pt x="772" y="35"/>
                    <a:pt x="771" y="35"/>
                    <a:pt x="771" y="36"/>
                  </a:cubicBezTo>
                  <a:cubicBezTo>
                    <a:pt x="771" y="34"/>
                    <a:pt x="771" y="31"/>
                    <a:pt x="770" y="29"/>
                  </a:cubicBezTo>
                  <a:lnTo>
                    <a:pt x="756" y="29"/>
                  </a:lnTo>
                  <a:cubicBezTo>
                    <a:pt x="756" y="34"/>
                    <a:pt x="756" y="38"/>
                    <a:pt x="756" y="43"/>
                  </a:cubicBezTo>
                  <a:lnTo>
                    <a:pt x="756" y="86"/>
                  </a:lnTo>
                  <a:lnTo>
                    <a:pt x="772" y="86"/>
                  </a:lnTo>
                  <a:lnTo>
                    <a:pt x="772" y="46"/>
                  </a:lnTo>
                  <a:cubicBezTo>
                    <a:pt x="774" y="43"/>
                    <a:pt x="777" y="42"/>
                    <a:pt x="781" y="41"/>
                  </a:cubicBezTo>
                  <a:cubicBezTo>
                    <a:pt x="784" y="41"/>
                    <a:pt x="786" y="41"/>
                    <a:pt x="789" y="41"/>
                  </a:cubicBezTo>
                  <a:lnTo>
                    <a:pt x="790" y="29"/>
                  </a:lnTo>
                  <a:close/>
                  <a:moveTo>
                    <a:pt x="805" y="79"/>
                  </a:moveTo>
                  <a:cubicBezTo>
                    <a:pt x="804" y="67"/>
                    <a:pt x="787" y="67"/>
                    <a:pt x="786" y="79"/>
                  </a:cubicBezTo>
                  <a:cubicBezTo>
                    <a:pt x="786" y="84"/>
                    <a:pt x="790" y="88"/>
                    <a:pt x="796" y="88"/>
                  </a:cubicBezTo>
                  <a:cubicBezTo>
                    <a:pt x="801" y="88"/>
                    <a:pt x="805" y="84"/>
                    <a:pt x="805" y="79"/>
                  </a:cubicBezTo>
                  <a:moveTo>
                    <a:pt x="891" y="86"/>
                  </a:moveTo>
                  <a:lnTo>
                    <a:pt x="891" y="72"/>
                  </a:lnTo>
                  <a:lnTo>
                    <a:pt x="859" y="72"/>
                  </a:lnTo>
                  <a:lnTo>
                    <a:pt x="859" y="9"/>
                  </a:lnTo>
                  <a:lnTo>
                    <a:pt x="843" y="9"/>
                  </a:lnTo>
                  <a:lnTo>
                    <a:pt x="843" y="86"/>
                  </a:lnTo>
                  <a:lnTo>
                    <a:pt x="891" y="86"/>
                  </a:lnTo>
                  <a:close/>
                  <a:moveTo>
                    <a:pt x="949" y="56"/>
                  </a:moveTo>
                  <a:cubicBezTo>
                    <a:pt x="949" y="43"/>
                    <a:pt x="944" y="28"/>
                    <a:pt x="924" y="28"/>
                  </a:cubicBezTo>
                  <a:cubicBezTo>
                    <a:pt x="907" y="28"/>
                    <a:pt x="900" y="43"/>
                    <a:pt x="900" y="58"/>
                  </a:cubicBezTo>
                  <a:cubicBezTo>
                    <a:pt x="900" y="68"/>
                    <a:pt x="903" y="87"/>
                    <a:pt x="923" y="87"/>
                  </a:cubicBezTo>
                  <a:cubicBezTo>
                    <a:pt x="932" y="88"/>
                    <a:pt x="940" y="86"/>
                    <a:pt x="948" y="81"/>
                  </a:cubicBezTo>
                  <a:lnTo>
                    <a:pt x="947" y="70"/>
                  </a:lnTo>
                  <a:cubicBezTo>
                    <a:pt x="941" y="73"/>
                    <a:pt x="933" y="75"/>
                    <a:pt x="926" y="76"/>
                  </a:cubicBezTo>
                  <a:cubicBezTo>
                    <a:pt x="919" y="76"/>
                    <a:pt x="916" y="71"/>
                    <a:pt x="916" y="61"/>
                  </a:cubicBezTo>
                  <a:lnTo>
                    <a:pt x="949" y="61"/>
                  </a:lnTo>
                  <a:cubicBezTo>
                    <a:pt x="949" y="61"/>
                    <a:pt x="949" y="57"/>
                    <a:pt x="949" y="56"/>
                  </a:cubicBezTo>
                  <a:moveTo>
                    <a:pt x="933" y="52"/>
                  </a:moveTo>
                  <a:lnTo>
                    <a:pt x="916" y="52"/>
                  </a:lnTo>
                  <a:cubicBezTo>
                    <a:pt x="916" y="47"/>
                    <a:pt x="917" y="39"/>
                    <a:pt x="924" y="39"/>
                  </a:cubicBezTo>
                  <a:cubicBezTo>
                    <a:pt x="932" y="39"/>
                    <a:pt x="933" y="47"/>
                    <a:pt x="933" y="52"/>
                  </a:cubicBezTo>
                  <a:close/>
                  <a:moveTo>
                    <a:pt x="1015" y="57"/>
                  </a:moveTo>
                  <a:cubicBezTo>
                    <a:pt x="1015" y="46"/>
                    <a:pt x="1012" y="28"/>
                    <a:pt x="993" y="28"/>
                  </a:cubicBezTo>
                  <a:cubicBezTo>
                    <a:pt x="988" y="28"/>
                    <a:pt x="982" y="30"/>
                    <a:pt x="978" y="34"/>
                  </a:cubicBezTo>
                  <a:cubicBezTo>
                    <a:pt x="978" y="34"/>
                    <a:pt x="978" y="30"/>
                    <a:pt x="978" y="28"/>
                  </a:cubicBezTo>
                  <a:lnTo>
                    <a:pt x="978" y="3"/>
                  </a:lnTo>
                  <a:lnTo>
                    <a:pt x="963" y="4"/>
                  </a:lnTo>
                  <a:lnTo>
                    <a:pt x="963" y="74"/>
                  </a:lnTo>
                  <a:cubicBezTo>
                    <a:pt x="963" y="78"/>
                    <a:pt x="962" y="82"/>
                    <a:pt x="962" y="86"/>
                  </a:cubicBezTo>
                  <a:lnTo>
                    <a:pt x="977" y="86"/>
                  </a:lnTo>
                  <a:cubicBezTo>
                    <a:pt x="977" y="85"/>
                    <a:pt x="977" y="83"/>
                    <a:pt x="977" y="82"/>
                  </a:cubicBezTo>
                  <a:cubicBezTo>
                    <a:pt x="982" y="85"/>
                    <a:pt x="987" y="87"/>
                    <a:pt x="993" y="87"/>
                  </a:cubicBezTo>
                  <a:cubicBezTo>
                    <a:pt x="1007" y="87"/>
                    <a:pt x="1015" y="74"/>
                    <a:pt x="1015" y="57"/>
                  </a:cubicBezTo>
                  <a:moveTo>
                    <a:pt x="999" y="57"/>
                  </a:moveTo>
                  <a:cubicBezTo>
                    <a:pt x="999" y="70"/>
                    <a:pt x="994" y="75"/>
                    <a:pt x="990" y="75"/>
                  </a:cubicBezTo>
                  <a:cubicBezTo>
                    <a:pt x="986" y="75"/>
                    <a:pt x="982" y="73"/>
                    <a:pt x="978" y="71"/>
                  </a:cubicBezTo>
                  <a:lnTo>
                    <a:pt x="978" y="45"/>
                  </a:lnTo>
                  <a:cubicBezTo>
                    <a:pt x="982" y="42"/>
                    <a:pt x="986" y="40"/>
                    <a:pt x="990" y="40"/>
                  </a:cubicBezTo>
                  <a:cubicBezTo>
                    <a:pt x="998" y="40"/>
                    <a:pt x="999" y="51"/>
                    <a:pt x="999" y="57"/>
                  </a:cubicBezTo>
                  <a:moveTo>
                    <a:pt x="1075" y="56"/>
                  </a:moveTo>
                  <a:cubicBezTo>
                    <a:pt x="1075" y="43"/>
                    <a:pt x="1070" y="28"/>
                    <a:pt x="1050" y="28"/>
                  </a:cubicBezTo>
                  <a:cubicBezTo>
                    <a:pt x="1033" y="28"/>
                    <a:pt x="1026" y="43"/>
                    <a:pt x="1026" y="58"/>
                  </a:cubicBezTo>
                  <a:cubicBezTo>
                    <a:pt x="1026" y="68"/>
                    <a:pt x="1029" y="87"/>
                    <a:pt x="1049" y="87"/>
                  </a:cubicBezTo>
                  <a:cubicBezTo>
                    <a:pt x="1058" y="88"/>
                    <a:pt x="1066" y="86"/>
                    <a:pt x="1074" y="81"/>
                  </a:cubicBezTo>
                  <a:lnTo>
                    <a:pt x="1073" y="70"/>
                  </a:lnTo>
                  <a:cubicBezTo>
                    <a:pt x="1067" y="73"/>
                    <a:pt x="1059" y="75"/>
                    <a:pt x="1052" y="76"/>
                  </a:cubicBezTo>
                  <a:cubicBezTo>
                    <a:pt x="1045" y="76"/>
                    <a:pt x="1042" y="71"/>
                    <a:pt x="1042" y="61"/>
                  </a:cubicBezTo>
                  <a:lnTo>
                    <a:pt x="1075" y="61"/>
                  </a:lnTo>
                  <a:cubicBezTo>
                    <a:pt x="1075" y="61"/>
                    <a:pt x="1075" y="57"/>
                    <a:pt x="1075" y="56"/>
                  </a:cubicBezTo>
                  <a:moveTo>
                    <a:pt x="1060" y="52"/>
                  </a:moveTo>
                  <a:lnTo>
                    <a:pt x="1042" y="52"/>
                  </a:lnTo>
                  <a:cubicBezTo>
                    <a:pt x="1042" y="47"/>
                    <a:pt x="1043" y="39"/>
                    <a:pt x="1050" y="39"/>
                  </a:cubicBezTo>
                  <a:cubicBezTo>
                    <a:pt x="1058" y="39"/>
                    <a:pt x="1060" y="47"/>
                    <a:pt x="1060" y="52"/>
                  </a:cubicBezTo>
                  <a:close/>
                  <a:moveTo>
                    <a:pt x="1138" y="86"/>
                  </a:moveTo>
                  <a:lnTo>
                    <a:pt x="1138" y="47"/>
                  </a:lnTo>
                  <a:cubicBezTo>
                    <a:pt x="1139" y="42"/>
                    <a:pt x="1138" y="38"/>
                    <a:pt x="1135" y="34"/>
                  </a:cubicBezTo>
                  <a:cubicBezTo>
                    <a:pt x="1132" y="30"/>
                    <a:pt x="1127" y="27"/>
                    <a:pt x="1121" y="28"/>
                  </a:cubicBezTo>
                  <a:cubicBezTo>
                    <a:pt x="1115" y="29"/>
                    <a:pt x="1108" y="32"/>
                    <a:pt x="1103" y="37"/>
                  </a:cubicBezTo>
                  <a:cubicBezTo>
                    <a:pt x="1103" y="34"/>
                    <a:pt x="1103" y="32"/>
                    <a:pt x="1102" y="29"/>
                  </a:cubicBezTo>
                  <a:lnTo>
                    <a:pt x="1088" y="29"/>
                  </a:lnTo>
                  <a:cubicBezTo>
                    <a:pt x="1088" y="29"/>
                    <a:pt x="1089" y="36"/>
                    <a:pt x="1089" y="43"/>
                  </a:cubicBezTo>
                  <a:lnTo>
                    <a:pt x="1089" y="86"/>
                  </a:lnTo>
                  <a:lnTo>
                    <a:pt x="1104" y="86"/>
                  </a:lnTo>
                  <a:lnTo>
                    <a:pt x="1104" y="48"/>
                  </a:lnTo>
                  <a:cubicBezTo>
                    <a:pt x="1107" y="44"/>
                    <a:pt x="1112" y="42"/>
                    <a:pt x="1116" y="41"/>
                  </a:cubicBezTo>
                  <a:cubicBezTo>
                    <a:pt x="1120" y="41"/>
                    <a:pt x="1123" y="42"/>
                    <a:pt x="1123" y="48"/>
                  </a:cubicBezTo>
                  <a:lnTo>
                    <a:pt x="1123" y="86"/>
                  </a:lnTo>
                  <a:lnTo>
                    <a:pt x="1138" y="86"/>
                  </a:lnTo>
                  <a:close/>
                  <a:moveTo>
                    <a:pt x="1170" y="79"/>
                  </a:moveTo>
                  <a:cubicBezTo>
                    <a:pt x="1170" y="74"/>
                    <a:pt x="1165" y="70"/>
                    <a:pt x="1160" y="70"/>
                  </a:cubicBezTo>
                  <a:cubicBezTo>
                    <a:pt x="1155" y="70"/>
                    <a:pt x="1151" y="74"/>
                    <a:pt x="1151" y="79"/>
                  </a:cubicBezTo>
                  <a:cubicBezTo>
                    <a:pt x="1151" y="84"/>
                    <a:pt x="1155" y="88"/>
                    <a:pt x="1160" y="88"/>
                  </a:cubicBezTo>
                  <a:cubicBezTo>
                    <a:pt x="1165" y="88"/>
                    <a:pt x="1170" y="84"/>
                    <a:pt x="1170" y="79"/>
                  </a:cubicBezTo>
                  <a:close/>
                </a:path>
              </a:pathLst>
            </a:custGeom>
            <a:solidFill>
              <a:srgbClr val="57687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4" name="Textfeld 3">
            <a:extLst>
              <a:ext uri="{FF2B5EF4-FFF2-40B4-BE49-F238E27FC236}">
                <a16:creationId xmlns:a16="http://schemas.microsoft.com/office/drawing/2014/main" id="{75DF2EB5-E68F-4A5F-8B05-DCA7BFDCE920}"/>
              </a:ext>
            </a:extLst>
          </p:cNvPr>
          <p:cNvSpPr txBox="1"/>
          <p:nvPr/>
        </p:nvSpPr>
        <p:spPr>
          <a:xfrm>
            <a:off x="1022968" y="288130"/>
            <a:ext cx="200375" cy="144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indent="0" algn="r">
              <a:spcAft>
                <a:spcPts val="1000"/>
              </a:spcAft>
              <a:buClr>
                <a:schemeClr val="accent1"/>
              </a:buClr>
              <a:buFont typeface="Calibri" panose="020F0502020204030204" pitchFamily="34" charset="0"/>
              <a:buNone/>
            </a:pPr>
            <a:r>
              <a:rPr lang="de-DE" sz="800" dirty="0">
                <a:solidFill>
                  <a:schemeClr val="accent3"/>
                </a:solidFill>
              </a:rPr>
              <a:t>Folie</a:t>
            </a:r>
          </a:p>
        </p:txBody>
      </p:sp>
    </p:spTree>
    <p:extLst>
      <p:ext uri="{BB962C8B-B14F-4D97-AF65-F5344CB8AC3E}">
        <p14:creationId xmlns:p14="http://schemas.microsoft.com/office/powerpoint/2010/main" val="3683727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  <p:sldLayoutId id="2147483745" r:id="rId27"/>
    <p:sldLayoutId id="2147483746" r:id="rId28"/>
  </p:sldLayoutIdLst>
  <p:hf sldNum="0" hdr="0"/>
  <p:txStyles>
    <p:titleStyle>
      <a:lvl1pPr algn="l" defTabSz="691157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691157" rtl="0" eaLnBrk="1" latinLnBrk="0" hangingPunct="1">
        <a:lnSpc>
          <a:spcPct val="90000"/>
        </a:lnSpc>
        <a:spcBef>
          <a:spcPts val="500"/>
        </a:spcBef>
        <a:spcAft>
          <a:spcPts val="500"/>
        </a:spcAft>
        <a:buClr>
          <a:schemeClr val="bg2"/>
        </a:buClr>
        <a:buFont typeface="Calibri" panose="020F050202020403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691157" rtl="0" eaLnBrk="1" latinLnBrk="0" hangingPunct="1">
        <a:lnSpc>
          <a:spcPct val="90000"/>
        </a:lnSpc>
        <a:spcBef>
          <a:spcPts val="500"/>
        </a:spcBef>
        <a:spcAft>
          <a:spcPts val="250"/>
        </a:spcAft>
        <a:buClr>
          <a:schemeClr val="bg2"/>
        </a:buClr>
        <a:buFont typeface="Calibri" panose="020F0502020204030204" pitchFamily="34" charset="0"/>
        <a:buChar char="◦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691157" rtl="0" eaLnBrk="1" latinLnBrk="0" hangingPunct="1">
        <a:lnSpc>
          <a:spcPct val="90000"/>
        </a:lnSpc>
        <a:spcBef>
          <a:spcPts val="250"/>
        </a:spcBef>
        <a:spcAft>
          <a:spcPts val="150"/>
        </a:spcAft>
        <a:buClr>
          <a:schemeClr val="tx1"/>
        </a:buClr>
        <a:buFont typeface="Calibri" panose="020F0502020204030204" pitchFamily="34" charset="0"/>
        <a:buChar char="◦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000" indent="-360000" algn="l" defTabSz="691157" rtl="0" eaLnBrk="1" latinLnBrk="0" hangingPunct="1">
        <a:lnSpc>
          <a:spcPct val="90000"/>
        </a:lnSpc>
        <a:spcBef>
          <a:spcPts val="150"/>
        </a:spcBef>
        <a:spcAft>
          <a:spcPts val="0"/>
        </a:spcAft>
        <a:buClr>
          <a:schemeClr val="tx1"/>
        </a:buClr>
        <a:buFont typeface="Calibri" panose="020F050202020403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000" indent="-360000" algn="l" defTabSz="691157" rtl="0" eaLnBrk="1" latinLnBrk="0" hangingPunct="1">
        <a:lnSpc>
          <a:spcPct val="90000"/>
        </a:lnSpc>
        <a:spcBef>
          <a:spcPts val="100"/>
        </a:spcBef>
        <a:buClrTx/>
        <a:buFont typeface="Calibri" panose="020F050202020403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900683" indent="-172790" algn="l" defTabSz="691157" rtl="0" eaLnBrk="1" latinLnBrk="0" hangingPunct="1">
        <a:lnSpc>
          <a:spcPct val="90000"/>
        </a:lnSpc>
        <a:spcBef>
          <a:spcPts val="378"/>
        </a:spcBef>
        <a:buFont typeface="Arial" panose="020B0604020202020204" pitchFamily="34" charset="0"/>
        <a:buChar char="•"/>
        <a:defRPr sz="1360" kern="1200">
          <a:solidFill>
            <a:schemeClr val="tx1"/>
          </a:solidFill>
          <a:latin typeface="+mn-lt"/>
          <a:ea typeface="+mn-ea"/>
          <a:cs typeface="+mn-cs"/>
        </a:defRPr>
      </a:lvl6pPr>
      <a:lvl7pPr marL="2246262" indent="-172790" algn="l" defTabSz="691157" rtl="0" eaLnBrk="1" latinLnBrk="0" hangingPunct="1">
        <a:lnSpc>
          <a:spcPct val="90000"/>
        </a:lnSpc>
        <a:spcBef>
          <a:spcPts val="378"/>
        </a:spcBef>
        <a:buFont typeface="Arial" panose="020B0604020202020204" pitchFamily="34" charset="0"/>
        <a:buChar char="•"/>
        <a:defRPr sz="1360" kern="1200">
          <a:solidFill>
            <a:schemeClr val="tx1"/>
          </a:solidFill>
          <a:latin typeface="+mn-lt"/>
          <a:ea typeface="+mn-ea"/>
          <a:cs typeface="+mn-cs"/>
        </a:defRPr>
      </a:lvl7pPr>
      <a:lvl8pPr marL="2591840" indent="-172790" algn="l" defTabSz="691157" rtl="0" eaLnBrk="1" latinLnBrk="0" hangingPunct="1">
        <a:lnSpc>
          <a:spcPct val="90000"/>
        </a:lnSpc>
        <a:spcBef>
          <a:spcPts val="378"/>
        </a:spcBef>
        <a:buFont typeface="Arial" panose="020B0604020202020204" pitchFamily="34" charset="0"/>
        <a:buChar char="•"/>
        <a:defRPr sz="1360" kern="1200">
          <a:solidFill>
            <a:schemeClr val="tx1"/>
          </a:solidFill>
          <a:latin typeface="+mn-lt"/>
          <a:ea typeface="+mn-ea"/>
          <a:cs typeface="+mn-cs"/>
        </a:defRPr>
      </a:lvl8pPr>
      <a:lvl9pPr marL="2937419" indent="-172790" algn="l" defTabSz="691157" rtl="0" eaLnBrk="1" latinLnBrk="0" hangingPunct="1">
        <a:lnSpc>
          <a:spcPct val="90000"/>
        </a:lnSpc>
        <a:spcBef>
          <a:spcPts val="378"/>
        </a:spcBef>
        <a:buFont typeface="Arial" panose="020B0604020202020204" pitchFamily="34" charset="0"/>
        <a:buChar char="•"/>
        <a:defRPr sz="13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1pPr>
      <a:lvl2pPr marL="345578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2pPr>
      <a:lvl3pPr marL="691157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3pPr>
      <a:lvl4pPr marL="1036735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4pPr>
      <a:lvl5pPr marL="1382316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5pPr>
      <a:lvl6pPr marL="1727893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6pPr>
      <a:lvl7pPr marL="2073473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7pPr>
      <a:lvl8pPr marL="2419051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8pPr>
      <a:lvl9pPr marL="2764630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9" orient="horz" pos="953">
          <p15:clr>
            <a:srgbClr val="F26B43"/>
          </p15:clr>
        </p15:guide>
        <p15:guide id="20" pos="272">
          <p15:clr>
            <a:srgbClr val="F26B43"/>
          </p15:clr>
        </p15:guide>
        <p15:guide id="21" pos="5533">
          <p15:clr>
            <a:srgbClr val="F26B43"/>
          </p15:clr>
        </p15:guide>
        <p15:guide id="22" pos="1451">
          <p15:clr>
            <a:srgbClr val="F26B43"/>
          </p15:clr>
        </p15:guide>
        <p15:guide id="23" pos="1632">
          <p15:clr>
            <a:srgbClr val="F26B43"/>
          </p15:clr>
        </p15:guide>
        <p15:guide id="24" pos="2812">
          <p15:clr>
            <a:srgbClr val="F26B43"/>
          </p15:clr>
        </p15:guide>
        <p15:guide id="25" pos="2993">
          <p15:clr>
            <a:srgbClr val="F26B43"/>
          </p15:clr>
        </p15:guide>
        <p15:guide id="26" pos="4173">
          <p15:clr>
            <a:srgbClr val="F26B43"/>
          </p15:clr>
        </p15:guide>
        <p15:guide id="27" pos="4354">
          <p15:clr>
            <a:srgbClr val="F26B43"/>
          </p15:clr>
        </p15:guide>
        <p15:guide id="28" orient="horz" pos="3130">
          <p15:clr>
            <a:srgbClr val="F26B43"/>
          </p15:clr>
        </p15:guide>
        <p15:guide id="29" orient="horz" pos="363">
          <p15:clr>
            <a:srgbClr val="F26B43"/>
          </p15:clr>
        </p15:guide>
        <p15:guide id="30" orient="horz" pos="1134">
          <p15:clr>
            <a:srgbClr val="F26B43"/>
          </p15:clr>
        </p15:guide>
        <p15:guide id="31" orient="horz" pos="544">
          <p15:clr>
            <a:srgbClr val="F26B43"/>
          </p15:clr>
        </p15:guide>
        <p15:guide id="32" orient="horz" pos="2041">
          <p15:clr>
            <a:srgbClr val="F26B43"/>
          </p15:clr>
        </p15:guide>
        <p15:guide id="33" orient="horz" pos="222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2.bin"/><Relationship Id="rId5" Type="http://schemas.openxmlformats.org/officeDocument/2006/relationships/chart" Target="../charts/chart9.xml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file:///C:\BDEW-Piktogramme\\Windkraft-Onshore.emf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emf"/><Relationship Id="rId5" Type="http://schemas.openxmlformats.org/officeDocument/2006/relationships/image" Target="file:///C:\BDEW-Piktogramme\\Windkraft-Offshore.emf" TargetMode="External"/><Relationship Id="rId4" Type="http://schemas.openxmlformats.org/officeDocument/2006/relationships/image" Target="../media/image6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file:///C:\BDEW-Piktogramme\\Windkraft-Onshore.emf" TargetMode="External"/><Relationship Id="rId4" Type="http://schemas.openxmlformats.org/officeDocument/2006/relationships/image" Target="../media/image7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file:///C:\BDEW-Piktogramme\\Windkraft-Offshore.emf" TargetMode="External"/><Relationship Id="rId4" Type="http://schemas.openxmlformats.org/officeDocument/2006/relationships/image" Target="../media/image6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file:///C:\BDEW-Piktogramme\\Photovoltaik.emf" TargetMode="External"/><Relationship Id="rId4" Type="http://schemas.openxmlformats.org/officeDocument/2006/relationships/image" Target="../media/image1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5" Type="http://schemas.openxmlformats.org/officeDocument/2006/relationships/image" Target="file:///C:\BDEW-Piktogramme\\Wasserkraft.emf" TargetMode="External"/><Relationship Id="rId4" Type="http://schemas.openxmlformats.org/officeDocument/2006/relationships/image" Target="../media/image17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chart" Target="../charts/chart2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emf"/><Relationship Id="rId4" Type="http://schemas.openxmlformats.org/officeDocument/2006/relationships/image" Target="../media/image29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emf"/><Relationship Id="rId4" Type="http://schemas.openxmlformats.org/officeDocument/2006/relationships/image" Target="../media/image32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2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hyperlink" Target="mailto:economics@bdew.de" TargetMode="Externa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7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158DBD6-B0F3-4BAE-9EA2-ECAB94A1570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Energiewirtschaftliche Entwicklungen</a:t>
            </a:r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BC178B3-84B4-4190-A7F5-2F837DF0058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/>
              <a:t>Quartalsbericht</a:t>
            </a:r>
          </a:p>
          <a:p>
            <a:r>
              <a:rPr lang="de-DE"/>
              <a:t>1. bis 3. Quartal 2025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751EC37-C35B-4984-B619-3FDFC81C3D6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FCE54500-76E5-4CA1-A581-E519657D964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39" b="25439"/>
          <a:stretch/>
        </p:blipFill>
        <p:spPr>
          <a:xfrm>
            <a:off x="0" y="0"/>
            <a:ext cx="9223200" cy="3024435"/>
          </a:xfr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C724F82-7A97-4FF0-8250-3F791F90CD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45826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Inhaltsplatzhalter 9">
            <a:extLst>
              <a:ext uri="{FF2B5EF4-FFF2-40B4-BE49-F238E27FC236}">
                <a16:creationId xmlns:a16="http://schemas.microsoft.com/office/drawing/2014/main" id="{F77A48E1-CC5B-4689-9FA8-C930180C729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3597624"/>
              </p:ext>
            </p:extLst>
          </p:nvPr>
        </p:nvGraphicFramePr>
        <p:xfrm>
          <a:off x="408878" y="1174596"/>
          <a:ext cx="8374760" cy="3794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52403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88" imgH="288" progId="TCLayout.ActiveDocument.1">
                  <p:embed/>
                </p:oleObj>
              </mc:Choice>
              <mc:Fallback>
                <p:oleObj name="think-cell Folie" r:id="rId6" imgW="288" imgH="288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52403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 bwMode="auto">
          <a:xfrm>
            <a:off x="1151202" y="-1"/>
            <a:ext cx="120018" cy="120018"/>
          </a:xfrm>
          <a:prstGeom prst="rect">
            <a:avLst/>
          </a:prstGeom>
          <a:solidFill>
            <a:schemeClr val="accent1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966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Calibri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natliche Stromerzeugung in Deutschland</a:t>
            </a:r>
          </a:p>
        </p:txBody>
      </p:sp>
      <p:sp>
        <p:nvSpPr>
          <p:cNvPr id="12" name="Text Box 7">
            <a:extLst>
              <a:ext uri="{FF2B5EF4-FFF2-40B4-BE49-F238E27FC236}">
                <a16:creationId xmlns:a16="http://schemas.microsoft.com/office/drawing/2014/main" id="{2543BB47-A1C0-41AF-9543-C1EA017199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86425" y="4860993"/>
            <a:ext cx="54822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182563" marR="0" lvl="0" indent="-182563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82563" algn="l"/>
              </a:tabLst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 vorläufi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A8CA714-287C-44EA-8F10-5189AFC09A21}"/>
              </a:ext>
            </a:extLst>
          </p:cNvPr>
          <p:cNvSpPr txBox="1"/>
          <p:nvPr/>
        </p:nvSpPr>
        <p:spPr>
          <a:xfrm>
            <a:off x="431255" y="4860993"/>
            <a:ext cx="336149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n: DEBRIV, Destatis, ENTSO-E, ZSW, BDEW; Stand</a:t>
            </a:r>
            <a:r>
              <a:rPr lang="de-DE" sz="1000" dirty="0">
                <a:solidFill>
                  <a:srgbClr val="000000"/>
                </a:solidFill>
                <a:latin typeface="Calibri"/>
                <a:cs typeface="Calibri"/>
              </a:rPr>
              <a:t> 11/2025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D25483C-B513-45A8-8C6B-30615B8F17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DEC82EE-0023-438F-8241-B49D535EB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</a:p>
        </p:txBody>
      </p:sp>
      <p:sp>
        <p:nvSpPr>
          <p:cNvPr id="13" name="Textfeld 1">
            <a:extLst>
              <a:ext uri="{FF2B5EF4-FFF2-40B4-BE49-F238E27FC236}">
                <a16:creationId xmlns:a16="http://schemas.microsoft.com/office/drawing/2014/main" id="{0CD3CF9A-2C89-4803-89C5-A0735830C6C2}"/>
              </a:ext>
            </a:extLst>
          </p:cNvPr>
          <p:cNvSpPr txBox="1"/>
          <p:nvPr/>
        </p:nvSpPr>
        <p:spPr>
          <a:xfrm>
            <a:off x="7322266" y="3925465"/>
            <a:ext cx="153392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zentangaben: Veränderung zum Vorjahresmonat</a:t>
            </a:r>
            <a:endParaRPr kumimoji="0" lang="de-DE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77976917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Inhaltsplatzhalter 10">
            <a:extLst>
              <a:ext uri="{FF2B5EF4-FFF2-40B4-BE49-F238E27FC236}">
                <a16:creationId xmlns:a16="http://schemas.microsoft.com/office/drawing/2014/main" id="{682B5191-B3E6-4E75-878F-B44B8026E95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59614794"/>
              </p:ext>
            </p:extLst>
          </p:nvPr>
        </p:nvGraphicFramePr>
        <p:xfrm>
          <a:off x="401444" y="1168400"/>
          <a:ext cx="8484222" cy="37282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8A047F1-EA23-4EA9-9FAB-45FA4DE37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Monatliche Stromerzeugung aus Erneuerbaren Energien</a:t>
            </a:r>
          </a:p>
        </p:txBody>
      </p:sp>
      <p:sp>
        <p:nvSpPr>
          <p:cNvPr id="12" name="Text Box 7">
            <a:extLst>
              <a:ext uri="{FF2B5EF4-FFF2-40B4-BE49-F238E27FC236}">
                <a16:creationId xmlns:a16="http://schemas.microsoft.com/office/drawing/2014/main" id="{63F1CA51-E4E5-4524-833F-17E53F9070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86425" y="4860993"/>
            <a:ext cx="54822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182563" marR="0" lvl="0" indent="-182563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82563" algn="l"/>
              </a:tabLst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 vorläufi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525BF562-FF50-4BAA-9EDA-A5D842B189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554FA0E0-E424-4156-A82C-D06F2CC54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</a:p>
        </p:txBody>
      </p:sp>
      <p:sp>
        <p:nvSpPr>
          <p:cNvPr id="10" name="Textfeld 1">
            <a:extLst>
              <a:ext uri="{FF2B5EF4-FFF2-40B4-BE49-F238E27FC236}">
                <a16:creationId xmlns:a16="http://schemas.microsoft.com/office/drawing/2014/main" id="{0AC76E36-7290-4C7E-B3C4-39B7805B61FE}"/>
              </a:ext>
            </a:extLst>
          </p:cNvPr>
          <p:cNvSpPr txBox="1"/>
          <p:nvPr/>
        </p:nvSpPr>
        <p:spPr>
          <a:xfrm>
            <a:off x="7322266" y="3978028"/>
            <a:ext cx="1533925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zentangaben: Veränderung zum Vorjahresmonat</a:t>
            </a:r>
            <a:endParaRPr kumimoji="0" lang="de-DE" sz="11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9421D09-EC29-349B-9129-315F6C16ABD7}"/>
              </a:ext>
            </a:extLst>
          </p:cNvPr>
          <p:cNvSpPr txBox="1"/>
          <p:nvPr/>
        </p:nvSpPr>
        <p:spPr>
          <a:xfrm>
            <a:off x="431255" y="4860993"/>
            <a:ext cx="240129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n: Destatis, ZSW, BDEW; Stand </a:t>
            </a:r>
            <a:r>
              <a:rPr lang="de-DE" sz="1000" dirty="0">
                <a:solidFill>
                  <a:srgbClr val="000000"/>
                </a:solidFill>
                <a:latin typeface="Calibri"/>
                <a:cs typeface="Calibri"/>
              </a:rPr>
              <a:t>11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/2025</a:t>
            </a:r>
          </a:p>
        </p:txBody>
      </p:sp>
    </p:spTree>
    <p:extLst>
      <p:ext uri="{BB962C8B-B14F-4D97-AF65-F5344CB8AC3E}">
        <p14:creationId xmlns:p14="http://schemas.microsoft.com/office/powerpoint/2010/main" val="2318478759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52403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88" imgH="288" progId="TCLayout.ActiveDocument.1">
                  <p:embed/>
                </p:oleObj>
              </mc:Choice>
              <mc:Fallback>
                <p:oleObj name="think-cell Folie" r:id="rId5" imgW="288" imgH="288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52403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 bwMode="auto">
          <a:xfrm>
            <a:off x="1151202" y="-1"/>
            <a:ext cx="120018" cy="120018"/>
          </a:xfrm>
          <a:prstGeom prst="rect">
            <a:avLst/>
          </a:prstGeom>
          <a:solidFill>
            <a:schemeClr val="accent1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39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Calibri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onatliche Stromerzeugung aus konventionellen Energieträgern</a:t>
            </a:r>
          </a:p>
        </p:txBody>
      </p:sp>
      <p:graphicFrame>
        <p:nvGraphicFramePr>
          <p:cNvPr id="12" name="Inhaltsplatzhalter 11">
            <a:extLst>
              <a:ext uri="{FF2B5EF4-FFF2-40B4-BE49-F238E27FC236}">
                <a16:creationId xmlns:a16="http://schemas.microsoft.com/office/drawing/2014/main" id="{57957AC0-1816-4EC3-BFE7-95401A86ABA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38714930"/>
              </p:ext>
            </p:extLst>
          </p:nvPr>
        </p:nvGraphicFramePr>
        <p:xfrm>
          <a:off x="396949" y="1152227"/>
          <a:ext cx="8531250" cy="3669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Text Box 7">
            <a:extLst>
              <a:ext uri="{FF2B5EF4-FFF2-40B4-BE49-F238E27FC236}">
                <a16:creationId xmlns:a16="http://schemas.microsoft.com/office/drawing/2014/main" id="{04E1D467-742C-4CFB-AB90-5DC8103BB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86425" y="4860993"/>
            <a:ext cx="54822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182563" marR="0" lvl="0" indent="-182563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82563" algn="l"/>
              </a:tabLst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 vorläufi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B64A73F-969F-4AAD-909B-3EA5A575AEE9}"/>
              </a:ext>
            </a:extLst>
          </p:cNvPr>
          <p:cNvSpPr txBox="1"/>
          <p:nvPr/>
        </p:nvSpPr>
        <p:spPr>
          <a:xfrm>
            <a:off x="431255" y="4860993"/>
            <a:ext cx="306814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n: DEBRIV, Destatis, ENTSO-E, BDEW; Stand </a:t>
            </a:r>
            <a:r>
              <a:rPr lang="de-DE" sz="1000" dirty="0">
                <a:solidFill>
                  <a:srgbClr val="000000"/>
                </a:solidFill>
                <a:latin typeface="Calibri"/>
                <a:cs typeface="Calibri"/>
              </a:rPr>
              <a:t>11/2025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014C7DD-6CBE-46B3-A94B-1D8A532938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5F8550D-3099-40EE-81C7-898C7DF46C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</a:p>
        </p:txBody>
      </p:sp>
      <p:sp>
        <p:nvSpPr>
          <p:cNvPr id="16" name="Textfeld 1">
            <a:extLst>
              <a:ext uri="{FF2B5EF4-FFF2-40B4-BE49-F238E27FC236}">
                <a16:creationId xmlns:a16="http://schemas.microsoft.com/office/drawing/2014/main" id="{E28BD909-847B-4927-915C-9FA49575CCBD}"/>
              </a:ext>
            </a:extLst>
          </p:cNvPr>
          <p:cNvSpPr txBox="1"/>
          <p:nvPr/>
        </p:nvSpPr>
        <p:spPr>
          <a:xfrm>
            <a:off x="7322266" y="3956764"/>
            <a:ext cx="1533925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zentangaben: Veränderung zum Vorjahresmonat</a:t>
            </a:r>
            <a:endParaRPr kumimoji="0" lang="de-DE" sz="11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20998013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7D4953CD-0E0A-9740-69A3-53237BB950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2107" y="1152227"/>
            <a:ext cx="8448675" cy="3686175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C3BD08DD-4A38-4952-8F2D-594FFF8EA7BC}"/>
              </a:ext>
            </a:extLst>
          </p:cNvPr>
          <p:cNvPicPr>
            <a:picLocks noChangeAspect="1"/>
          </p:cNvPicPr>
          <p:nvPr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3863" y="1407679"/>
            <a:ext cx="1156577" cy="116874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4E634A5-048B-40B8-B885-9ABBDB0A9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</p:spPr>
        <p:txBody>
          <a:bodyPr>
            <a:normAutofit fontScale="90000"/>
          </a:bodyPr>
          <a:lstStyle/>
          <a:p>
            <a:r>
              <a:rPr lang="de-DE" dirty="0"/>
              <a:t>Monatliche Stromerzeugung aus Windenergie an Land und auf Se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537EF2-7E2A-46C3-AE18-E370825824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96F28FEC-19FB-480A-9A26-CF8AFDBB260E}"/>
              </a:ext>
            </a:extLst>
          </p:cNvPr>
          <p:cNvPicPr>
            <a:picLocks noChangeAspect="1"/>
          </p:cNvPicPr>
          <p:nvPr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9197" y="1368251"/>
            <a:ext cx="1156578" cy="1168743"/>
          </a:xfrm>
          <a:prstGeom prst="rect">
            <a:avLst/>
          </a:prstGeom>
        </p:spPr>
      </p:pic>
      <p:sp>
        <p:nvSpPr>
          <p:cNvPr id="15" name="Text Box 7">
            <a:extLst>
              <a:ext uri="{FF2B5EF4-FFF2-40B4-BE49-F238E27FC236}">
                <a16:creationId xmlns:a16="http://schemas.microsoft.com/office/drawing/2014/main" id="{2AC43F27-2741-4D8D-86B5-EB24ECD43F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86425" y="4860993"/>
            <a:ext cx="54822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 vorläufig</a:t>
            </a:r>
            <a:endParaRPr kumimoji="0" lang="de-DE" sz="1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2EEC92-C76B-4860-BF5A-5AC1A75A6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6228A9E-E3F7-0EE2-4EB5-D5E7DFEE498E}"/>
              </a:ext>
            </a:extLst>
          </p:cNvPr>
          <p:cNvSpPr txBox="1"/>
          <p:nvPr/>
        </p:nvSpPr>
        <p:spPr>
          <a:xfrm>
            <a:off x="431255" y="4860993"/>
            <a:ext cx="108843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n: ZSW, BDEW</a:t>
            </a:r>
          </a:p>
        </p:txBody>
      </p:sp>
    </p:spTree>
    <p:extLst>
      <p:ext uri="{BB962C8B-B14F-4D97-AF65-F5344CB8AC3E}">
        <p14:creationId xmlns:p14="http://schemas.microsoft.com/office/powerpoint/2010/main" val="41241710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indstärk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2EC7A73-28B9-4D96-BF60-147BDBECD4C1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431800" y="1224235"/>
            <a:ext cx="8351838" cy="443198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DE" sz="1600" dirty="0">
                <a:solidFill>
                  <a:schemeClr val="bg2"/>
                </a:solidFill>
              </a:rPr>
              <a:t>als Erzeugungsindikator gewichtet mit der geographischen Verteilung der </a:t>
            </a:r>
            <a:r>
              <a:rPr lang="de-DE" sz="1600" dirty="0" err="1">
                <a:solidFill>
                  <a:schemeClr val="bg2"/>
                </a:solidFill>
              </a:rPr>
              <a:t>inst</a:t>
            </a:r>
            <a:r>
              <a:rPr lang="de-DE" sz="1600" dirty="0">
                <a:solidFill>
                  <a:schemeClr val="bg2"/>
                </a:solidFill>
              </a:rPr>
              <a:t>. Leistung der </a:t>
            </a:r>
            <a:r>
              <a:rPr lang="de-DE" sz="1600">
                <a:solidFill>
                  <a:schemeClr val="bg2"/>
                </a:solidFill>
              </a:rPr>
              <a:t>WEA </a:t>
            </a:r>
            <a:br>
              <a:rPr lang="de-DE" sz="1600">
                <a:solidFill>
                  <a:schemeClr val="bg2"/>
                </a:solidFill>
              </a:rPr>
            </a:br>
            <a:r>
              <a:rPr lang="de-DE" sz="1600">
                <a:solidFill>
                  <a:schemeClr val="bg2"/>
                </a:solidFill>
              </a:rPr>
              <a:t>zum </a:t>
            </a:r>
            <a:r>
              <a:rPr lang="de-DE" sz="1600" dirty="0">
                <a:solidFill>
                  <a:schemeClr val="bg2"/>
                </a:solidFill>
              </a:rPr>
              <a:t>31.12.2024 – Auswertung von 41 Wetterstationen des DWD</a:t>
            </a:r>
          </a:p>
        </p:txBody>
      </p:sp>
      <p:graphicFrame>
        <p:nvGraphicFramePr>
          <p:cNvPr id="9" name="Object 2"/>
          <p:cNvGraphicFramePr>
            <a:graphicFrameLocks noGrp="1" noChangeAspect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57613326"/>
              </p:ext>
            </p:extLst>
          </p:nvPr>
        </p:nvGraphicFramePr>
        <p:xfrm>
          <a:off x="431800" y="1746529"/>
          <a:ext cx="8351838" cy="3085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0DD0385-A666-4CF5-8A8C-A4E6D7A1E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A21455F-3E26-460C-8D5B-845F91A498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E4E9514-0AAA-4371-901C-C405A34B6224}"/>
              </a:ext>
            </a:extLst>
          </p:cNvPr>
          <p:cNvSpPr txBox="1"/>
          <p:nvPr/>
        </p:nvSpPr>
        <p:spPr>
          <a:xfrm>
            <a:off x="431255" y="4860993"/>
            <a:ext cx="173284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0"/>
            </a:lvl1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DWD; eigene Berechnu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00600033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C288E01B-9BEE-2EBD-33E9-FBA82EF0CB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364083" y="1210468"/>
            <a:ext cx="8343900" cy="368617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20B8A4ED-0F55-41F5-924B-1CB68C9B8671}"/>
              </a:ext>
            </a:extLst>
          </p:cNvPr>
          <p:cNvPicPr>
            <a:picLocks noChangeAspect="1"/>
          </p:cNvPicPr>
          <p:nvPr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0490" y="1163364"/>
            <a:ext cx="1203891" cy="121655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4E634A5-048B-40B8-B885-9ABBDB0A9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</p:spPr>
        <p:txBody>
          <a:bodyPr>
            <a:normAutofit/>
          </a:bodyPr>
          <a:lstStyle/>
          <a:p>
            <a:r>
              <a:rPr lang="de-DE" dirty="0"/>
              <a:t>Monatliche Stromerzeugung aus Windenergie an Land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537EF2-7E2A-46C3-AE18-E370825824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7" name="Text Box 7">
            <a:extLst>
              <a:ext uri="{FF2B5EF4-FFF2-40B4-BE49-F238E27FC236}">
                <a16:creationId xmlns:a16="http://schemas.microsoft.com/office/drawing/2014/main" id="{068FAC8B-A06D-4836-B65F-AE441A0BA6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86425" y="4860993"/>
            <a:ext cx="54822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 vorläufig</a:t>
            </a:r>
            <a:endParaRPr kumimoji="0" lang="de-DE" sz="1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BB4AE30-B0B8-4B23-8F12-A5F85CDAC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AC5C399-C536-3F76-69BC-EC90E6EEEE8B}"/>
              </a:ext>
            </a:extLst>
          </p:cNvPr>
          <p:cNvSpPr txBox="1"/>
          <p:nvPr/>
        </p:nvSpPr>
        <p:spPr>
          <a:xfrm>
            <a:off x="431255" y="4860993"/>
            <a:ext cx="108843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n: ZSW, BDEW</a:t>
            </a:r>
          </a:p>
        </p:txBody>
      </p:sp>
    </p:spTree>
    <p:extLst>
      <p:ext uri="{BB962C8B-B14F-4D97-AF65-F5344CB8AC3E}">
        <p14:creationId xmlns:p14="http://schemas.microsoft.com/office/powerpoint/2010/main" val="991442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62D45396-0379-72F5-14DE-3D6386785C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5535" y="1224235"/>
            <a:ext cx="8286750" cy="368617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E19F95B-DA89-4EAD-A985-64A1C0C65CEC}"/>
              </a:ext>
            </a:extLst>
          </p:cNvPr>
          <p:cNvPicPr>
            <a:picLocks noChangeAspect="1"/>
          </p:cNvPicPr>
          <p:nvPr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5318" y="1084507"/>
            <a:ext cx="1156577" cy="116874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4E634A5-048B-40B8-B885-9ABBDB0A9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</p:spPr>
        <p:txBody>
          <a:bodyPr>
            <a:normAutofit/>
          </a:bodyPr>
          <a:lstStyle/>
          <a:p>
            <a:r>
              <a:rPr lang="de-DE" dirty="0"/>
              <a:t>Monatliche Stromerzeugung aus Windenergie auf See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537EF2-7E2A-46C3-AE18-E370825824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3" name="Text Box 7">
            <a:extLst>
              <a:ext uri="{FF2B5EF4-FFF2-40B4-BE49-F238E27FC236}">
                <a16:creationId xmlns:a16="http://schemas.microsoft.com/office/drawing/2014/main" id="{8C3E5A34-1325-42E6-8360-8FA68D4A7C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86425" y="4860993"/>
            <a:ext cx="54822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 vorläufig</a:t>
            </a:r>
            <a:endParaRPr kumimoji="0" lang="de-DE" sz="1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205A48C-6CFD-4851-ABB3-E3003D3E91B5}"/>
              </a:ext>
            </a:extLst>
          </p:cNvPr>
          <p:cNvSpPr txBox="1"/>
          <p:nvPr/>
        </p:nvSpPr>
        <p:spPr>
          <a:xfrm>
            <a:off x="431255" y="4860993"/>
            <a:ext cx="108843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n: ZSW, BDEW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CF3C58-A0B9-406F-BE1E-6DC3B072A1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87017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87978124-1D61-F785-F35B-D288CCFF33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7707" y="1210468"/>
            <a:ext cx="8267700" cy="368617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4E634A5-048B-40B8-B885-9ABBDB0A9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6" y="864639"/>
            <a:ext cx="8421039" cy="647628"/>
          </a:xfrm>
        </p:spPr>
        <p:txBody>
          <a:bodyPr>
            <a:noAutofit/>
          </a:bodyPr>
          <a:lstStyle/>
          <a:p>
            <a:r>
              <a:rPr lang="de-DE" dirty="0"/>
              <a:t>Monatliche Stromerzeugung </a:t>
            </a:r>
            <a:r>
              <a:rPr lang="de-DE"/>
              <a:t>aus Photovoltaik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537EF2-7E2A-46C3-AE18-E370825824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C9BEE632-726C-4BF1-8CAB-D0B9F75532D3}"/>
              </a:ext>
            </a:extLst>
          </p:cNvPr>
          <p:cNvPicPr>
            <a:picLocks noChangeAspect="1"/>
          </p:cNvPicPr>
          <p:nvPr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4963" y="1355476"/>
            <a:ext cx="843007" cy="1164904"/>
          </a:xfrm>
          <a:prstGeom prst="rect">
            <a:avLst/>
          </a:prstGeom>
        </p:spPr>
      </p:pic>
      <p:sp>
        <p:nvSpPr>
          <p:cNvPr id="16" name="Text Box 7">
            <a:extLst>
              <a:ext uri="{FF2B5EF4-FFF2-40B4-BE49-F238E27FC236}">
                <a16:creationId xmlns:a16="http://schemas.microsoft.com/office/drawing/2014/main" id="{EB43B49F-77EE-46C1-94EC-9A839CDA8E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86425" y="4860993"/>
            <a:ext cx="548227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 vorläufig</a:t>
            </a:r>
            <a:endParaRPr kumimoji="0" lang="de-DE" sz="1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7EE88C-DD52-44F5-BDFB-3BDEF0E2E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CA95905-1A45-2B4E-DFA6-D117895739D5}"/>
              </a:ext>
            </a:extLst>
          </p:cNvPr>
          <p:cNvSpPr txBox="1"/>
          <p:nvPr/>
        </p:nvSpPr>
        <p:spPr>
          <a:xfrm>
            <a:off x="431255" y="4860993"/>
            <a:ext cx="108843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n: ZSW, BDEW</a:t>
            </a:r>
          </a:p>
        </p:txBody>
      </p:sp>
    </p:spTree>
    <p:extLst>
      <p:ext uri="{BB962C8B-B14F-4D97-AF65-F5344CB8AC3E}">
        <p14:creationId xmlns:p14="http://schemas.microsoft.com/office/powerpoint/2010/main" val="21707494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onnenschein</a:t>
            </a:r>
          </a:p>
        </p:txBody>
      </p:sp>
      <p:graphicFrame>
        <p:nvGraphicFramePr>
          <p:cNvPr id="9" name="Object 2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3830802"/>
              </p:ext>
            </p:extLst>
          </p:nvPr>
        </p:nvGraphicFramePr>
        <p:xfrm>
          <a:off x="431800" y="1792791"/>
          <a:ext cx="8351838" cy="3168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4C8FF84-A6CB-47E2-99AE-93CBADC25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FEFA5E-BCF5-4FD2-918F-9552FB6A2D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D44BFFE3-0AFD-42A7-8826-4A0078283031}"/>
              </a:ext>
            </a:extLst>
          </p:cNvPr>
          <p:cNvSpPr txBox="1">
            <a:spLocks/>
          </p:cNvSpPr>
          <p:nvPr/>
        </p:nvSpPr>
        <p:spPr>
          <a:xfrm>
            <a:off x="431800" y="1224235"/>
            <a:ext cx="8351838" cy="4431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9115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rgbClr val="C20000"/>
              </a:buClr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s Erzeugungsindikator gewichtet mit der geographischen Verteilung der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st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. Leistung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r </a:t>
            </a:r>
            <a:b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</a:b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V-Anlage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um 31.12.2024 – Auswertung von 41 Wetterstationen des DWD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4FCEF85-05FF-4645-8708-A0D7C95660A8}"/>
              </a:ext>
            </a:extLst>
          </p:cNvPr>
          <p:cNvSpPr txBox="1"/>
          <p:nvPr/>
        </p:nvSpPr>
        <p:spPr>
          <a:xfrm>
            <a:off x="431255" y="4860993"/>
            <a:ext cx="173284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0"/>
            </a:lvl1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DWD; eigene Berechnu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78122592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13">
            <a:extLst>
              <a:ext uri="{FF2B5EF4-FFF2-40B4-BE49-F238E27FC236}">
                <a16:creationId xmlns:a16="http://schemas.microsoft.com/office/drawing/2014/main" id="{D9FF96FB-606C-6239-19D4-9A0C807B0E4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8963" y="1224234"/>
            <a:ext cx="8255766" cy="3672393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4E634A5-048B-40B8-B885-9ABBDB0A9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</p:spPr>
        <p:txBody>
          <a:bodyPr>
            <a:noAutofit/>
          </a:bodyPr>
          <a:lstStyle/>
          <a:p>
            <a:r>
              <a:rPr lang="de-DE" dirty="0"/>
              <a:t>Monatliche Stromerzeugung </a:t>
            </a:r>
            <a:r>
              <a:rPr lang="de-DE"/>
              <a:t>aus Wasserkraft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81C1862-6122-41EE-9CCC-555618E6580F}"/>
              </a:ext>
            </a:extLst>
          </p:cNvPr>
          <p:cNvSpPr txBox="1"/>
          <p:nvPr/>
        </p:nvSpPr>
        <p:spPr>
          <a:xfrm>
            <a:off x="431255" y="4860993"/>
            <a:ext cx="72776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BDEW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537EF2-7E2A-46C3-AE18-E370825824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5" name="Text Box 7">
            <a:extLst>
              <a:ext uri="{FF2B5EF4-FFF2-40B4-BE49-F238E27FC236}">
                <a16:creationId xmlns:a16="http://schemas.microsoft.com/office/drawing/2014/main" id="{8D45EDCC-D6AF-4F4E-B192-1254FB9B70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86425" y="4860993"/>
            <a:ext cx="54822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 vorläufig</a:t>
            </a:r>
            <a:endParaRPr kumimoji="0" lang="de-DE" sz="1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F42603F-E14D-470E-BBE1-ED8DD8F5CB6B}"/>
              </a:ext>
            </a:extLst>
          </p:cNvPr>
          <p:cNvPicPr>
            <a:picLocks noChangeAspect="1"/>
          </p:cNvPicPr>
          <p:nvPr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7839" y="1008211"/>
            <a:ext cx="1507104" cy="1522956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26E760A-8ED8-4646-833E-A83558636F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25866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imärenergieverbrauch </a:t>
            </a:r>
            <a:r>
              <a:rPr lang="de-DE"/>
              <a:t>in Deutschland</a:t>
            </a:r>
            <a:endParaRPr lang="de-DE" dirty="0"/>
          </a:p>
        </p:txBody>
      </p:sp>
      <p:graphicFrame>
        <p:nvGraphicFramePr>
          <p:cNvPr id="2" name="BDEW-Diagramm"/>
          <p:cNvGraphicFramePr>
            <a:graphicFrameLocks noGrp="1" noChangeAspect="1"/>
          </p:cNvGraphicFramePr>
          <p:nvPr>
            <p:ph idx="1"/>
          </p:nvPr>
        </p:nvGraphicFramePr>
        <p:xfrm>
          <a:off x="431800" y="1368250"/>
          <a:ext cx="6552183" cy="3516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C7B920A-5891-4619-BDB7-77CD445B9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AF261FD-D5A1-42AB-9D48-95F6A3585A73}"/>
              </a:ext>
            </a:extLst>
          </p:cNvPr>
          <p:cNvSpPr txBox="1"/>
          <p:nvPr/>
        </p:nvSpPr>
        <p:spPr>
          <a:xfrm>
            <a:off x="7272015" y="3888531"/>
            <a:ext cx="1584176" cy="5040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DCC6FBFA-F19D-4BE6-B134-22B883D4AB2F}"/>
              </a:ext>
            </a:extLst>
          </p:cNvPr>
          <p:cNvSpPr txBox="1">
            <a:spLocks/>
          </p:cNvSpPr>
          <p:nvPr/>
        </p:nvSpPr>
        <p:spPr>
          <a:xfrm>
            <a:off x="7200006" y="1664508"/>
            <a:ext cx="1800201" cy="29014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9115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. bis 3. Quartal 2025 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sgesamt: </a:t>
            </a:r>
            <a:b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</a:b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7 721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J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(vorläufig)</a:t>
            </a:r>
          </a:p>
          <a:p>
            <a:pPr marL="0" marR="0" lvl="0" indent="0" algn="l" defTabSz="69115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srgbClr val="C2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69115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lang="de-DE" sz="1600" dirty="0">
                <a:solidFill>
                  <a:schemeClr val="bg2"/>
                </a:solidFill>
              </a:rPr>
              <a:t>Veränderung zum </a:t>
            </a:r>
            <a:br>
              <a:rPr lang="de-DE" sz="1600" dirty="0">
                <a:solidFill>
                  <a:schemeClr val="bg2"/>
                </a:solidFill>
              </a:rPr>
            </a:br>
            <a:r>
              <a:rPr lang="de-DE" sz="1600" dirty="0">
                <a:solidFill>
                  <a:schemeClr val="bg2"/>
                </a:solidFill>
              </a:rPr>
              <a:t>Vorjahreszeitraum: </a:t>
            </a:r>
            <a:br>
              <a:rPr lang="de-DE" sz="1600">
                <a:solidFill>
                  <a:schemeClr val="bg2"/>
                </a:solidFill>
              </a:rPr>
            </a:br>
            <a:r>
              <a:rPr lang="de-DE" sz="1600" b="1">
                <a:solidFill>
                  <a:schemeClr val="bg2"/>
                </a:solidFill>
              </a:rPr>
              <a:t>+1,1 </a:t>
            </a:r>
            <a:r>
              <a:rPr lang="de-DE" sz="1600" b="1" dirty="0">
                <a:solidFill>
                  <a:schemeClr val="bg2"/>
                </a:solidFill>
              </a:rPr>
              <a:t>%</a:t>
            </a:r>
            <a:endParaRPr lang="de-DE" sz="1600" dirty="0">
              <a:solidFill>
                <a:schemeClr val="bg2"/>
              </a:solidFill>
            </a:endParaRPr>
          </a:p>
          <a:p>
            <a:pPr marL="0" marR="0" lvl="0" indent="0" algn="l" defTabSz="69115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69115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69115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69115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Änderungsraten im Vergleich zum Vorjahreszeitrau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F8B0F80-BBD6-49AB-9288-3337B3512C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0" name="Text Box 11">
            <a:extLst>
              <a:ext uri="{FF2B5EF4-FFF2-40B4-BE49-F238E27FC236}">
                <a16:creationId xmlns:a16="http://schemas.microsoft.com/office/drawing/2014/main" id="{2E118E8F-7D88-4786-997F-3CA3DFE4DA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1257" y="4860920"/>
            <a:ext cx="224741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AG Energiebilanzen; 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and </a:t>
            </a:r>
            <a:r>
              <a:rPr lang="de-DE" i="0">
                <a:solidFill>
                  <a:srgbClr val="000000"/>
                </a:solidFill>
                <a:latin typeface="Calibri"/>
                <a:cs typeface="Calibri"/>
              </a:rPr>
              <a:t>10/2025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87849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iederschlag</a:t>
            </a:r>
          </a:p>
        </p:txBody>
      </p:sp>
      <p:graphicFrame>
        <p:nvGraphicFramePr>
          <p:cNvPr id="9" name="Object 2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0686219"/>
              </p:ext>
            </p:extLst>
          </p:nvPr>
        </p:nvGraphicFramePr>
        <p:xfrm>
          <a:off x="431800" y="1792791"/>
          <a:ext cx="8351838" cy="3168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F697F27-5038-41D5-B2D5-C53D17D4F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E073C95-E932-4A98-A102-543071F06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1067DC2D-2186-4D9D-9C10-B8A350407552}"/>
              </a:ext>
            </a:extLst>
          </p:cNvPr>
          <p:cNvSpPr txBox="1">
            <a:spLocks/>
          </p:cNvSpPr>
          <p:nvPr/>
        </p:nvSpPr>
        <p:spPr>
          <a:xfrm>
            <a:off x="431800" y="1224235"/>
            <a:ext cx="8351838" cy="4431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9115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rgbClr val="C20000"/>
              </a:buClr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s Erzeugungsindikator gewichtet mit der geographischen Verteilung der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st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. Leistung der Wasserkraft zum 28.02.2023 – Auswertung von 41 Wetterstationen des DWD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3D1C0AD-723C-4F85-B88B-31EA0CC91AA2}"/>
              </a:ext>
            </a:extLst>
          </p:cNvPr>
          <p:cNvSpPr txBox="1"/>
          <p:nvPr/>
        </p:nvSpPr>
        <p:spPr>
          <a:xfrm>
            <a:off x="431255" y="4860993"/>
            <a:ext cx="173284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DWD; eigene Berechnung</a:t>
            </a:r>
            <a:endParaRPr kumimoji="0" lang="de-DE" sz="1000" b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65743443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 </a:t>
            </a:r>
            <a:r>
              <a:rPr lang="de-DE"/>
              <a:t>des EEG-Kontos</a:t>
            </a:r>
            <a:endParaRPr lang="de-DE" dirty="0"/>
          </a:p>
        </p:txBody>
      </p:sp>
      <p:graphicFrame>
        <p:nvGraphicFramePr>
          <p:cNvPr id="5" name="Object 4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46337980"/>
              </p:ext>
            </p:extLst>
          </p:nvPr>
        </p:nvGraphicFramePr>
        <p:xfrm>
          <a:off x="431799" y="1368251"/>
          <a:ext cx="8424391" cy="3600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9F03220-8F80-435B-8A5E-661F3CE7A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23907" name="Rectangle 3"/>
          <p:cNvSpPr>
            <a:spLocks noChangeArrowheads="1"/>
          </p:cNvSpPr>
          <p:nvPr/>
        </p:nvSpPr>
        <p:spPr bwMode="auto">
          <a:xfrm>
            <a:off x="430528" y="4860323"/>
            <a:ext cx="172002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www.netztransparenz.de</a:t>
            </a:r>
          </a:p>
        </p:txBody>
      </p:sp>
      <p:sp>
        <p:nvSpPr>
          <p:cNvPr id="12" name="Textfeld 11"/>
          <p:cNvSpPr txBox="1"/>
          <p:nvPr/>
        </p:nvSpPr>
        <p:spPr>
          <a:xfrm flipH="1">
            <a:off x="1112541" y="1475819"/>
            <a:ext cx="7945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12</a:t>
            </a:r>
          </a:p>
        </p:txBody>
      </p:sp>
      <p:sp>
        <p:nvSpPr>
          <p:cNvPr id="14" name="Textfeld 13"/>
          <p:cNvSpPr txBox="1"/>
          <p:nvPr/>
        </p:nvSpPr>
        <p:spPr>
          <a:xfrm flipH="1">
            <a:off x="1646293" y="1475819"/>
            <a:ext cx="7945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13</a:t>
            </a:r>
          </a:p>
        </p:txBody>
      </p:sp>
      <p:sp>
        <p:nvSpPr>
          <p:cNvPr id="16" name="Textfeld 15"/>
          <p:cNvSpPr txBox="1"/>
          <p:nvPr/>
        </p:nvSpPr>
        <p:spPr>
          <a:xfrm flipH="1">
            <a:off x="2180045" y="1475819"/>
            <a:ext cx="7945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14</a:t>
            </a:r>
          </a:p>
        </p:txBody>
      </p:sp>
      <p:sp>
        <p:nvSpPr>
          <p:cNvPr id="18" name="Textfeld 17"/>
          <p:cNvSpPr txBox="1"/>
          <p:nvPr/>
        </p:nvSpPr>
        <p:spPr>
          <a:xfrm flipH="1">
            <a:off x="2713797" y="1475819"/>
            <a:ext cx="7945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15</a:t>
            </a:r>
          </a:p>
        </p:txBody>
      </p:sp>
      <p:sp>
        <p:nvSpPr>
          <p:cNvPr id="20" name="Textfeld 19"/>
          <p:cNvSpPr txBox="1"/>
          <p:nvPr/>
        </p:nvSpPr>
        <p:spPr>
          <a:xfrm flipH="1">
            <a:off x="3247549" y="1475819"/>
            <a:ext cx="7945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16</a:t>
            </a:r>
          </a:p>
        </p:txBody>
      </p:sp>
      <p:sp>
        <p:nvSpPr>
          <p:cNvPr id="13" name="Textfeld 12"/>
          <p:cNvSpPr txBox="1"/>
          <p:nvPr/>
        </p:nvSpPr>
        <p:spPr>
          <a:xfrm flipH="1">
            <a:off x="3781301" y="1475819"/>
            <a:ext cx="7945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17</a:t>
            </a:r>
          </a:p>
        </p:txBody>
      </p:sp>
      <p:sp>
        <p:nvSpPr>
          <p:cNvPr id="15" name="Textfeld 14"/>
          <p:cNvSpPr txBox="1"/>
          <p:nvPr/>
        </p:nvSpPr>
        <p:spPr>
          <a:xfrm flipH="1">
            <a:off x="4315053" y="1475819"/>
            <a:ext cx="7945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18</a:t>
            </a:r>
          </a:p>
        </p:txBody>
      </p:sp>
      <p:sp>
        <p:nvSpPr>
          <p:cNvPr id="19" name="Textfeld 18"/>
          <p:cNvSpPr txBox="1"/>
          <p:nvPr/>
        </p:nvSpPr>
        <p:spPr>
          <a:xfrm flipH="1">
            <a:off x="4848805" y="1475819"/>
            <a:ext cx="7945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19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45EEAFD3-020A-46B3-9E1B-04B21F9C49C1}"/>
              </a:ext>
            </a:extLst>
          </p:cNvPr>
          <p:cNvSpPr txBox="1"/>
          <p:nvPr/>
        </p:nvSpPr>
        <p:spPr>
          <a:xfrm flipH="1">
            <a:off x="5382557" y="1475819"/>
            <a:ext cx="7945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0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3B848666-9B4B-4EDD-B1E8-B60145BB6878}"/>
              </a:ext>
            </a:extLst>
          </p:cNvPr>
          <p:cNvSpPr txBox="1"/>
          <p:nvPr/>
        </p:nvSpPr>
        <p:spPr>
          <a:xfrm flipH="1">
            <a:off x="5916309" y="1475819"/>
            <a:ext cx="7945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1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A46A00-FD65-482F-8666-50D0E3443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1175C16C-F65F-45FC-B8DA-099F5F2851ED}"/>
              </a:ext>
            </a:extLst>
          </p:cNvPr>
          <p:cNvSpPr txBox="1"/>
          <p:nvPr/>
        </p:nvSpPr>
        <p:spPr>
          <a:xfrm flipH="1">
            <a:off x="6450061" y="1475819"/>
            <a:ext cx="7945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2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A92A22E-BB2F-AD29-A883-0F7F3A76F21B}"/>
              </a:ext>
            </a:extLst>
          </p:cNvPr>
          <p:cNvSpPr txBox="1"/>
          <p:nvPr/>
        </p:nvSpPr>
        <p:spPr>
          <a:xfrm flipH="1">
            <a:off x="6983813" y="1475819"/>
            <a:ext cx="7945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3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4668680-2DD0-E5E3-2698-2A7DE46FF11B}"/>
              </a:ext>
            </a:extLst>
          </p:cNvPr>
          <p:cNvSpPr txBox="1"/>
          <p:nvPr/>
        </p:nvSpPr>
        <p:spPr>
          <a:xfrm flipH="1">
            <a:off x="7517565" y="1475819"/>
            <a:ext cx="7945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4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61C45D0-950E-9471-4110-45C369B852C1}"/>
              </a:ext>
            </a:extLst>
          </p:cNvPr>
          <p:cNvSpPr txBox="1"/>
          <p:nvPr/>
        </p:nvSpPr>
        <p:spPr>
          <a:xfrm flipH="1">
            <a:off x="8051315" y="1475819"/>
            <a:ext cx="7945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538144527"/>
      </p:ext>
    </p:extLst>
  </p:cSld>
  <p:clrMapOvr>
    <a:masterClrMapping/>
  </p:clrMapOvr>
  <p:transition spd="slow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aisonaler Verlauf des Stromaustauschs</a:t>
            </a:r>
          </a:p>
        </p:txBody>
      </p:sp>
      <p:graphicFrame>
        <p:nvGraphicFramePr>
          <p:cNvPr id="2" name="Object 4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3973187"/>
              </p:ext>
            </p:extLst>
          </p:nvPr>
        </p:nvGraphicFramePr>
        <p:xfrm>
          <a:off x="431257" y="1512267"/>
          <a:ext cx="8136902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1763" name="Text Box 17"/>
          <p:cNvSpPr txBox="1">
            <a:spLocks noChangeArrowheads="1"/>
          </p:cNvSpPr>
          <p:nvPr/>
        </p:nvSpPr>
        <p:spPr bwMode="auto">
          <a:xfrm rot="-5400000">
            <a:off x="7713730" y="2746070"/>
            <a:ext cx="194636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F7F2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xport  </a:t>
            </a:r>
            <a:r>
              <a:rPr kumimoji="0" lang="de-DE" sz="121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Calibri"/>
              </a:rPr>
              <a:t> </a:t>
            </a:r>
            <a:r>
              <a:rPr kumimoji="0" lang="de-DE" sz="1210" b="1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Arial" charset="0"/>
                <a:ea typeface="+mn-ea"/>
                <a:cs typeface="Calibri"/>
              </a:rPr>
              <a:t>Saldo</a:t>
            </a:r>
            <a:r>
              <a:rPr kumimoji="0" lang="de-DE" sz="121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Calibri"/>
              </a:rPr>
              <a:t>   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2A36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port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F2A36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A90D378-6E46-4590-8801-514EAD61FE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BF64BAF-1DCB-4480-B082-CAF7BA2C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9B54255-46CF-4D85-B68C-066B6DB1A05C}"/>
              </a:ext>
            </a:extLst>
          </p:cNvPr>
          <p:cNvSpPr txBox="1"/>
          <p:nvPr/>
        </p:nvSpPr>
        <p:spPr>
          <a:xfrm>
            <a:off x="431255" y="4860993"/>
            <a:ext cx="156132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BDEW; Stand 11/2025</a:t>
            </a:r>
          </a:p>
        </p:txBody>
      </p:sp>
      <p:sp>
        <p:nvSpPr>
          <p:cNvPr id="10" name="Text Box 7">
            <a:extLst>
              <a:ext uri="{FF2B5EF4-FFF2-40B4-BE49-F238E27FC236}">
                <a16:creationId xmlns:a16="http://schemas.microsoft.com/office/drawing/2014/main" id="{0BBEB737-7F27-4D38-9B12-099911648C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86425" y="4860993"/>
            <a:ext cx="54822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182563" marR="0" lvl="0" indent="-182563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82563" algn="l"/>
              </a:tabLst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 vorläufi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" name="Text Box 45">
            <a:extLst>
              <a:ext uri="{FF2B5EF4-FFF2-40B4-BE49-F238E27FC236}">
                <a16:creationId xmlns:a16="http://schemas.microsoft.com/office/drawing/2014/main" id="{C40B7383-074A-C443-EBAB-0337758FEF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10077" y="883078"/>
            <a:ext cx="2574106" cy="769441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748592"/>
            </a:solidFill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298575" algn="r"/>
                <a:tab pos="1412875" algn="l"/>
                <a:tab pos="2328863" algn="r"/>
                <a:tab pos="2870200" algn="r"/>
              </a:tabLst>
              <a:defRPr/>
            </a:pPr>
            <a:r>
              <a:rPr lang="de-DE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bis 3. Quartal: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   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		Jahressaldo:       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98575" algn="r"/>
                <a:tab pos="1412875" algn="l"/>
                <a:tab pos="2328863" algn="r"/>
                <a:tab pos="2870200" algn="r"/>
              </a:tabLst>
              <a:defRPr/>
            </a:pP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2023:	</a:t>
            </a:r>
            <a:r>
              <a:rPr lang="de-DE">
                <a:solidFill>
                  <a:srgbClr val="000000"/>
                </a:solidFill>
                <a:latin typeface="Calibri"/>
                <a:cs typeface="Calibri"/>
              </a:rPr>
              <a:t>+10,5 </a:t>
            </a: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Mrd. kWh		+8,3 Mrd. kWh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98575" algn="r"/>
                <a:tab pos="1412875" algn="l"/>
                <a:tab pos="2328863" algn="r"/>
                <a:tab pos="2870200" algn="r"/>
              </a:tabLst>
              <a:defRPr/>
            </a:pPr>
            <a:r>
              <a:rPr kumimoji="0" lang="de-DE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4:</a:t>
            </a: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	</a:t>
            </a:r>
            <a:r>
              <a:rPr lang="de-DE">
                <a:solidFill>
                  <a:srgbClr val="000000"/>
                </a:solidFill>
                <a:latin typeface="Calibri"/>
                <a:cs typeface="Calibri"/>
              </a:rPr>
              <a:t>+20,0</a:t>
            </a: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de-DE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rd. </a:t>
            </a: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kWh		+24,3 Mrd. kWh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98575" algn="r"/>
                <a:tab pos="1412875" algn="l"/>
                <a:tab pos="2328863" algn="r"/>
                <a:tab pos="2870200" algn="r"/>
              </a:tabLst>
              <a:defRPr/>
            </a:pPr>
            <a:r>
              <a:rPr kumimoji="0" lang="de-DE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5*:	</a:t>
            </a: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+15,4 </a:t>
            </a:r>
            <a:r>
              <a:rPr kumimoji="0" lang="de-DE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rd. </a:t>
            </a: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kWh</a:t>
            </a:r>
            <a:r>
              <a:rPr kumimoji="0" lang="de-DE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4181943512"/>
      </p:ext>
    </p:extLst>
  </p:cSld>
  <p:clrMapOvr>
    <a:masterClrMapping/>
  </p:clrMapOvr>
  <p:transition spd="slow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 descr="Anzahlen der Baugenehmigungen nach Gebäudeart und Wohnungsgröße des aktuellen Jahres zum Vorjahr.">
            <a:extLst>
              <a:ext uri="{FF2B5EF4-FFF2-40B4-BE49-F238E27FC236}">
                <a16:creationId xmlns:a16="http://schemas.microsoft.com/office/drawing/2014/main" id="{C89387DC-04E5-4CD4-BDCB-8E97C09E5561}"/>
              </a:ext>
            </a:extLst>
          </p:cNvPr>
          <p:cNvSpPr txBox="1">
            <a:spLocks/>
          </p:cNvSpPr>
          <p:nvPr/>
        </p:nvSpPr>
        <p:spPr>
          <a:xfrm>
            <a:off x="431257" y="864639"/>
            <a:ext cx="8352382" cy="6476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69115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Baugenehmigungen nach Gebäudeart und Wohnungsgröße</a:t>
            </a:r>
            <a:br>
              <a:rPr lang="de-DE" dirty="0"/>
            </a:br>
            <a:r>
              <a:rPr lang="de-DE" sz="1600" b="0" dirty="0"/>
              <a:t>Anzahl der zum Bau genehmigten Wohnungen* in neuen Wohn- und Nicht-Wohngebäuden </a:t>
            </a:r>
            <a:br>
              <a:rPr lang="de-DE" sz="1600" b="0" dirty="0"/>
            </a:br>
            <a:r>
              <a:rPr lang="de-DE" sz="1600" b="0" dirty="0"/>
              <a:t>sowie in Bestandsgebäuden </a:t>
            </a:r>
          </a:p>
        </p:txBody>
      </p:sp>
      <p:graphicFrame>
        <p:nvGraphicFramePr>
          <p:cNvPr id="9" name="Inhaltsplatzhalter 8" descr="Anzahlen der Baugenehmigungen nach Gebäudesart und Wohnungsgröße vom aktuellen Jahr zum Vorjahr">
            <a:extLst>
              <a:ext uri="{FF2B5EF4-FFF2-40B4-BE49-F238E27FC236}">
                <a16:creationId xmlns:a16="http://schemas.microsoft.com/office/drawing/2014/main" id="{E1B43CA2-275C-4898-B333-0DEBD23BE7B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96276588"/>
              </p:ext>
            </p:extLst>
          </p:nvPr>
        </p:nvGraphicFramePr>
        <p:xfrm>
          <a:off x="431527" y="1656283"/>
          <a:ext cx="8352383" cy="3240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F7FA1389-B222-45F4-8CA4-BA311496AFAF}"/>
              </a:ext>
            </a:extLst>
          </p:cNvPr>
          <p:cNvSpPr txBox="1"/>
          <p:nvPr/>
        </p:nvSpPr>
        <p:spPr>
          <a:xfrm>
            <a:off x="2951535" y="1729315"/>
            <a:ext cx="1007905" cy="43088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ctr"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</a:pPr>
            <a:r>
              <a:rPr lang="de-DE" sz="1400" b="1" dirty="0">
                <a:solidFill>
                  <a:schemeClr val="bg2"/>
                </a:solidFill>
              </a:rPr>
              <a:t>Veränderung:</a:t>
            </a:r>
            <a:br>
              <a:rPr lang="de-DE" sz="1400" b="1" dirty="0">
                <a:solidFill>
                  <a:schemeClr val="bg2"/>
                </a:solidFill>
              </a:rPr>
            </a:br>
            <a:r>
              <a:rPr lang="de-DE" sz="1400" b="1" dirty="0">
                <a:solidFill>
                  <a:schemeClr val="bg2"/>
                </a:solidFill>
              </a:rPr>
              <a:t>+10,7 %</a:t>
            </a:r>
            <a:endParaRPr lang="de-DE" sz="1200" b="1" dirty="0">
              <a:solidFill>
                <a:schemeClr val="bg2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CF7C238-1926-4A01-8FAC-1636280D1D01}"/>
              </a:ext>
            </a:extLst>
          </p:cNvPr>
          <p:cNvSpPr txBox="1"/>
          <p:nvPr/>
        </p:nvSpPr>
        <p:spPr>
          <a:xfrm>
            <a:off x="4920903" y="4854967"/>
            <a:ext cx="3863280" cy="16307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algn="r"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</a:pPr>
            <a:r>
              <a:rPr lang="de-DE" sz="1000" dirty="0"/>
              <a:t>* ohne Baumaßnahmen in neuen oder bestehenden Wohnheim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98F52F5-7844-7589-3E12-B41138C5555F}"/>
              </a:ext>
            </a:extLst>
          </p:cNvPr>
          <p:cNvSpPr txBox="1"/>
          <p:nvPr/>
        </p:nvSpPr>
        <p:spPr>
          <a:xfrm>
            <a:off x="431257" y="4861075"/>
            <a:ext cx="1654299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Destatis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; Stand 11/2025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C846A4-217B-450D-8DA5-064C31B25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576874"/>
                </a:solidFill>
                <a:latin typeface="Calibri"/>
                <a:cs typeface="Calibri"/>
              </a:rPr>
              <a:t>05.12.2025</a:t>
            </a:r>
            <a:endParaRPr lang="de-DE" dirty="0">
              <a:solidFill>
                <a:srgbClr val="576874"/>
              </a:solidFill>
              <a:latin typeface="Calibri"/>
              <a:cs typeface="Calibri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E8438B-F5DB-4530-8ADF-C6713B91FB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411111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C39BE9-2BF6-4504-8628-7D2EA882F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Entwicklung der Beheizungsstruktur </a:t>
            </a:r>
            <a:r>
              <a:rPr lang="de-DE"/>
              <a:t>im Wohnungsneubau</a:t>
            </a:r>
            <a:r>
              <a:rPr lang="de-DE" baseline="30000"/>
              <a:t>1</a:t>
            </a:r>
            <a:br>
              <a:rPr lang="de-DE"/>
            </a:br>
            <a:r>
              <a:rPr lang="de-DE" sz="1800" b="0"/>
              <a:t>Baugenehmigungen nach primärer Heizenergie</a:t>
            </a:r>
            <a:endParaRPr lang="de-DE" sz="1800" b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7396051-ABD9-4D9C-8571-2C94AE395A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EA9A871-6A99-4655-A931-C94BE776A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aphicFrame>
        <p:nvGraphicFramePr>
          <p:cNvPr id="7" name="Inhaltsplatzhalter 9">
            <a:extLst>
              <a:ext uri="{FF2B5EF4-FFF2-40B4-BE49-F238E27FC236}">
                <a16:creationId xmlns:a16="http://schemas.microsoft.com/office/drawing/2014/main" id="{B27F75B7-77A3-4ADB-8DEB-ACA0ADC9691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10798188"/>
              </p:ext>
            </p:extLst>
          </p:nvPr>
        </p:nvGraphicFramePr>
        <p:xfrm>
          <a:off x="431255" y="1610760"/>
          <a:ext cx="8568952" cy="3096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 Box 3">
            <a:extLst>
              <a:ext uri="{FF2B5EF4-FFF2-40B4-BE49-F238E27FC236}">
                <a16:creationId xmlns:a16="http://schemas.microsoft.com/office/drawing/2014/main" id="{C89F01C6-7E3E-44FB-A5AD-704987157A61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570730" y="2954517"/>
            <a:ext cx="2218300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teile der Energieträger in %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FCFAB7E-451C-43F8-A8B6-EC3090B97400}"/>
              </a:ext>
            </a:extLst>
          </p:cNvPr>
          <p:cNvSpPr txBox="1"/>
          <p:nvPr/>
        </p:nvSpPr>
        <p:spPr>
          <a:xfrm>
            <a:off x="431255" y="4861805"/>
            <a:ext cx="299120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n: Statistische Landesämter, BDEW; Stand 11/2025</a:t>
            </a:r>
          </a:p>
        </p:txBody>
      </p:sp>
      <p:sp>
        <p:nvSpPr>
          <p:cNvPr id="8" name="Text Box 5">
            <a:extLst>
              <a:ext uri="{FF2B5EF4-FFF2-40B4-BE49-F238E27FC236}">
                <a16:creationId xmlns:a16="http://schemas.microsoft.com/office/drawing/2014/main" id="{0AEAD1FC-C36C-959C-B266-20EF94E503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03080" y="4707104"/>
            <a:ext cx="3680559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algn="r">
              <a:spcAft>
                <a:spcPts val="0"/>
              </a:spcAft>
              <a:buClr>
                <a:srgbClr val="000000"/>
              </a:buClr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um Bau genehmigte neue Wohnungen; primäre Heizenergie </a:t>
            </a:r>
            <a:b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</a:br>
            <a:r>
              <a:rPr lang="de-DE" i="0" dirty="0"/>
              <a:t>¹ Geothermie und sonstige </a:t>
            </a:r>
            <a:r>
              <a:rPr lang="de-DE" i="0" dirty="0" err="1"/>
              <a:t>Umweltthermie</a:t>
            </a:r>
            <a:r>
              <a:rPr lang="de-DE" i="0" dirty="0"/>
              <a:t>; </a:t>
            </a:r>
            <a:r>
              <a:rPr lang="de-DE" i="0" baseline="30000" dirty="0"/>
              <a:t>2  </a:t>
            </a:r>
            <a:r>
              <a:rPr lang="de-DE" i="0" dirty="0"/>
              <a:t>einschließlich Biomethan</a:t>
            </a:r>
          </a:p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61761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31256" y="864639"/>
            <a:ext cx="8579889" cy="431604"/>
          </a:xfrm>
        </p:spPr>
        <p:txBody>
          <a:bodyPr>
            <a:normAutofit/>
          </a:bodyPr>
          <a:lstStyle/>
          <a:p>
            <a:r>
              <a:rPr lang="de-DE" dirty="0"/>
              <a:t>Entwicklung der </a:t>
            </a:r>
            <a:r>
              <a:rPr lang="de-DE"/>
              <a:t>Beheizungsstruktur im Wohnungsbestand</a:t>
            </a:r>
            <a:endParaRPr lang="de-DE" dirty="0"/>
          </a:p>
        </p:txBody>
      </p:sp>
      <p:graphicFrame>
        <p:nvGraphicFramePr>
          <p:cNvPr id="10" name="Inhaltsplatzhalter 9">
            <a:extLst>
              <a:ext uri="{FF2B5EF4-FFF2-40B4-BE49-F238E27FC236}">
                <a16:creationId xmlns:a16="http://schemas.microsoft.com/office/drawing/2014/main" id="{FB96EE6D-00AF-4F8E-B6F6-8B27C62E852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88726462"/>
              </p:ext>
            </p:extLst>
          </p:nvPr>
        </p:nvGraphicFramePr>
        <p:xfrm>
          <a:off x="422855" y="1440258"/>
          <a:ext cx="8712968" cy="3456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 Box 3"/>
          <p:cNvSpPr txBox="1">
            <a:spLocks noChangeArrowheads="1"/>
          </p:cNvSpPr>
          <p:nvPr/>
        </p:nvSpPr>
        <p:spPr bwMode="auto">
          <a:xfrm>
            <a:off x="431255" y="4858437"/>
            <a:ext cx="155972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BDEW, Stand 05/2025</a:t>
            </a:r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6103382" y="4704548"/>
            <a:ext cx="280977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undungsdifferenzen möglich;</a:t>
            </a:r>
          </a:p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inschließlich Biomethan und Flüssiggas; </a:t>
            </a:r>
            <a:r>
              <a:rPr kumimoji="0" lang="de-DE" sz="10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v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.a. Kohl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882CE54-A032-4126-B6ED-44CF5D648A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F5D1538-866D-6CD9-6C82-56C596ED25D1}"/>
              </a:ext>
            </a:extLst>
          </p:cNvPr>
          <p:cNvSpPr txBox="1"/>
          <p:nvPr/>
        </p:nvSpPr>
        <p:spPr>
          <a:xfrm>
            <a:off x="348310" y="1205980"/>
            <a:ext cx="8579889" cy="528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63"/>
              </a:lnSpc>
              <a:buClr>
                <a:srgbClr val="7E1C4B"/>
              </a:buClr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 Wohn- und Nicht-Wohngebäuden; Heizung vorhanden; </a:t>
            </a:r>
            <a:r>
              <a:rPr lang="de-DE" sz="1600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Anteile der genutzten Energieträger</a:t>
            </a:r>
            <a:endParaRPr lang="de-DE" sz="1600" baseline="30000" dirty="0">
              <a:solidFill>
                <a:schemeClr val="bg2"/>
              </a:solidFill>
              <a:latin typeface="+mj-lt"/>
              <a:cs typeface="Arial" panose="020B0604020202020204" pitchFamily="34" charset="0"/>
            </a:endParaRPr>
          </a:p>
          <a:p>
            <a:pPr marL="0" marR="0" lvl="0" indent="0" algn="l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Fußzeilenplatzhalter 7">
            <a:extLst>
              <a:ext uri="{FF2B5EF4-FFF2-40B4-BE49-F238E27FC236}">
                <a16:creationId xmlns:a16="http://schemas.microsoft.com/office/drawing/2014/main" id="{AABD043E-7452-4C29-BA69-8638630637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9951" y="288131"/>
            <a:ext cx="5256000" cy="144000"/>
          </a:xfrm>
        </p:spPr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38484175"/>
      </p:ext>
    </p:extLst>
  </p:cSld>
  <p:clrMapOvr>
    <a:masterClrMapping/>
  </p:clrMapOvr>
  <p:transition spd="slow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18118963"/>
              </p:ext>
            </p:extLst>
          </p:nvPr>
        </p:nvGraphicFramePr>
        <p:xfrm>
          <a:off x="431255" y="1443462"/>
          <a:ext cx="4176464" cy="34566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20000"/>
                </a:solidFill>
              </a:rPr>
              <a:t>Erzeugerpreisindizes für Haushalte und Industrie</a:t>
            </a:r>
          </a:p>
        </p:txBody>
      </p:sp>
      <p:sp>
        <p:nvSpPr>
          <p:cNvPr id="7" name="Datumsplatzhalter 2">
            <a:extLst>
              <a:ext uri="{FF2B5EF4-FFF2-40B4-BE49-F238E27FC236}">
                <a16:creationId xmlns:a16="http://schemas.microsoft.com/office/drawing/2014/main" id="{6BF44CE9-2B20-524E-36F0-0031AA6296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1255" y="288131"/>
            <a:ext cx="504000" cy="144000"/>
          </a:xfrm>
        </p:spPr>
        <p:txBody>
          <a:bodyPr/>
          <a:lstStyle/>
          <a:p>
            <a:r>
              <a:rPr lang="de-DE"/>
              <a:t>05.12.2025</a:t>
            </a:r>
          </a:p>
        </p:txBody>
      </p:sp>
      <p:graphicFrame>
        <p:nvGraphicFramePr>
          <p:cNvPr id="19" name="Object 2">
            <a:extLst>
              <a:ext uri="{FF2B5EF4-FFF2-40B4-BE49-F238E27FC236}">
                <a16:creationId xmlns:a16="http://schemas.microsoft.com/office/drawing/2014/main" id="{49BF654A-1A71-4C53-351E-2098CE8DECC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96603815"/>
              </p:ext>
            </p:extLst>
          </p:nvPr>
        </p:nvGraphicFramePr>
        <p:xfrm>
          <a:off x="4608512" y="1443462"/>
          <a:ext cx="4175125" cy="34566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6235E7B-2A89-F6DB-B6C7-58B1D48954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5" name="Text Box 11">
            <a:extLst>
              <a:ext uri="{FF2B5EF4-FFF2-40B4-BE49-F238E27FC236}">
                <a16:creationId xmlns:a16="http://schemas.microsoft.com/office/drawing/2014/main" id="{A4DE66A5-6F14-51F3-541E-CC8BD82909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1255" y="4860993"/>
            <a:ext cx="493724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0"/>
            </a:lvl1pPr>
          </a:lstStyle>
          <a:p>
            <a:pPr marL="0" marR="0" lvl="0" indent="0" algn="l" defTabSz="6912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Destatis</a:t>
            </a: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 </a:t>
            </a:r>
            <a:r>
              <a:rPr lang="de-DE" sz="1000" dirty="0">
                <a:solidFill>
                  <a:srgbClr val="000000"/>
                </a:solidFill>
                <a:latin typeface="Calibri"/>
                <a:cs typeface="Calibri"/>
              </a:rPr>
              <a:t>Erzeugerpreisindizes gewerblicher Produkte (2021=100), Datenstand </a:t>
            </a: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11</a:t>
            </a:r>
            <a:r>
              <a:rPr lang="de-DE" sz="1000" dirty="0">
                <a:solidFill>
                  <a:srgbClr val="000000"/>
                </a:solidFill>
                <a:latin typeface="Calibri"/>
                <a:cs typeface="Calibri"/>
              </a:rPr>
              <a:t>/2025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81905501"/>
      </p:ext>
    </p:extLst>
  </p:cSld>
  <p:clrMapOvr>
    <a:masterClrMapping/>
  </p:clrMapOvr>
  <p:transition spd="slow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20000"/>
                </a:solidFill>
              </a:rPr>
              <a:t>Preisentwicklung Strom am Terminmarkt</a:t>
            </a:r>
            <a:br>
              <a:rPr lang="de-DE" dirty="0">
                <a:solidFill>
                  <a:srgbClr val="C20000"/>
                </a:solidFill>
              </a:rPr>
            </a:br>
            <a:r>
              <a:rPr lang="de-DE" sz="1600" b="0" dirty="0">
                <a:solidFill>
                  <a:srgbClr val="C20000"/>
                </a:solidFill>
              </a:rPr>
              <a:t>Futures Frontjahr Base und Peak rollierend für Jahr 2024 und 1.-3. Quartal 2025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61A2D8B-3BAC-4265-BEE9-1BFED70451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1DDD142-488C-4424-B9E5-7DAC8FD6F2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DE9F72D-7C4A-D2C0-2AF5-D1D829ECAE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81345" y="1654274"/>
            <a:ext cx="8409550" cy="3219058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3EC1F76F-B977-8D72-C6B7-77714178D1ED}"/>
              </a:ext>
            </a:extLst>
          </p:cNvPr>
          <p:cNvSpPr txBox="1"/>
          <p:nvPr/>
        </p:nvSpPr>
        <p:spPr>
          <a:xfrm>
            <a:off x="431255" y="4860429"/>
            <a:ext cx="59471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EX</a:t>
            </a:r>
          </a:p>
        </p:txBody>
      </p:sp>
    </p:spTree>
    <p:extLst>
      <p:ext uri="{BB962C8B-B14F-4D97-AF65-F5344CB8AC3E}">
        <p14:creationId xmlns:p14="http://schemas.microsoft.com/office/powerpoint/2010/main" val="344272768"/>
      </p:ext>
    </p:extLst>
  </p:cSld>
  <p:clrMapOvr>
    <a:masterClrMapping/>
  </p:clrMapOvr>
  <p:transition spd="slow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865F5E-2BBB-1D74-F9E6-C66D5DFD7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791644"/>
          </a:xfrm>
        </p:spPr>
        <p:txBody>
          <a:bodyPr/>
          <a:lstStyle/>
          <a:p>
            <a:r>
              <a:rPr lang="de-DE" dirty="0">
                <a:solidFill>
                  <a:srgbClr val="C20000"/>
                </a:solidFill>
              </a:rPr>
              <a:t>Preisentwicklung Strom am Spotmarkt</a:t>
            </a:r>
            <a:r>
              <a:rPr lang="de-DE">
                <a:solidFill>
                  <a:srgbClr val="C20000"/>
                </a:solidFill>
              </a:rPr>
              <a:t>: Day-Ahead</a:t>
            </a:r>
            <a:r>
              <a:rPr lang="de-DE" dirty="0">
                <a:solidFill>
                  <a:srgbClr val="C20000"/>
                </a:solidFill>
              </a:rPr>
              <a:t>-</a:t>
            </a:r>
            <a:r>
              <a:rPr lang="de-DE">
                <a:solidFill>
                  <a:srgbClr val="C20000"/>
                </a:solidFill>
              </a:rPr>
              <a:t>Preise</a:t>
            </a:r>
            <a:br>
              <a:rPr lang="de-DE" dirty="0">
                <a:solidFill>
                  <a:srgbClr val="C20000"/>
                </a:solidFill>
              </a:rPr>
            </a:br>
            <a:r>
              <a:rPr lang="de-DE" sz="1600" b="0" dirty="0">
                <a:solidFill>
                  <a:srgbClr val="C20000"/>
                </a:solidFill>
              </a:rPr>
              <a:t>Tagesmittel und gleitende Durchschnitte (60 Tage) der deutsch-luxemburgischen Gebotszone </a:t>
            </a:r>
            <a:br>
              <a:rPr lang="de-DE" sz="1600" b="0" dirty="0">
                <a:solidFill>
                  <a:srgbClr val="C20000"/>
                </a:solidFill>
              </a:rPr>
            </a:br>
            <a:r>
              <a:rPr lang="de-DE" sz="1600" b="0" dirty="0">
                <a:solidFill>
                  <a:srgbClr val="C20000"/>
                </a:solidFill>
              </a:rPr>
              <a:t>Jahre 2023, 2024 und 1.-3. Quartal 2025 </a:t>
            </a:r>
            <a:endParaRPr lang="de-DE" sz="1600" b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1A4CE58-3DC7-44F3-3473-6CBA0FD424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76BDE-F5EF-4C62-C058-A694FDBD5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2E8EF1D-D6F3-D655-D02E-39845F4A78B4}"/>
              </a:ext>
            </a:extLst>
          </p:cNvPr>
          <p:cNvSpPr txBox="1"/>
          <p:nvPr/>
        </p:nvSpPr>
        <p:spPr>
          <a:xfrm>
            <a:off x="431255" y="4860429"/>
            <a:ext cx="85600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</a:t>
            </a:r>
            <a:r>
              <a:rPr lang="de-DE" sz="1000" dirty="0">
                <a:solidFill>
                  <a:srgbClr val="000000"/>
                </a:solidFill>
                <a:latin typeface="Calibri"/>
                <a:cs typeface="Calibri"/>
              </a:rPr>
              <a:t>ENTSO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-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52F1CEDD-5C1E-1D41-04EE-3865C7E345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81018" y="1656283"/>
            <a:ext cx="8410575" cy="3219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345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373B5025-BE6A-8984-A464-B415F0DFF2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389616" y="1584275"/>
            <a:ext cx="8432011" cy="3387778"/>
          </a:xfrm>
          <a:prstGeom prst="rect">
            <a:avLst/>
          </a:prstGeom>
        </p:spPr>
      </p:pic>
      <p:sp>
        <p:nvSpPr>
          <p:cNvPr id="2027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ompreise für Haushalte</a:t>
            </a:r>
            <a:br>
              <a:rPr lang="de-DE" dirty="0"/>
            </a:br>
            <a:r>
              <a:rPr lang="de-DE" sz="1600" b="0" dirty="0"/>
              <a:t>Durchschnittlicher Strompreis für Haushalte mit einem Jahresverbrauch von 3.500 kWh</a:t>
            </a:r>
            <a:endParaRPr lang="de-DE" sz="1400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CB4F10BE-DD6F-449A-9FD4-0F321FD10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E3E75E-47D0-4742-97F0-2F89756A79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9B93CB8-AE60-AEAA-E9C8-12A9A02D9FC4}"/>
              </a:ext>
            </a:extLst>
          </p:cNvPr>
          <p:cNvSpPr txBox="1"/>
          <p:nvPr/>
        </p:nvSpPr>
        <p:spPr>
          <a:xfrm>
            <a:off x="431255" y="4860429"/>
            <a:ext cx="189314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de-DE" sz="1000" dirty="0">
                <a:solidFill>
                  <a:srgbClr val="000000"/>
                </a:solidFill>
                <a:latin typeface="Calibri"/>
                <a:cs typeface="Calibri"/>
              </a:rPr>
              <a:t>Quell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: BDEW, Datenstand 11/2025</a:t>
            </a:r>
            <a:r>
              <a:rPr lang="de-DE" sz="1000" dirty="0">
                <a:solidFill>
                  <a:srgbClr val="000000"/>
                </a:solidFill>
                <a:latin typeface="Calibri"/>
                <a:cs typeface="Calibri"/>
              </a:rPr>
              <a:t>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554371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3"/>
          <p:cNvGraphicFramePr>
            <a:graphicFrameLocks noGrp="1" noChangeAspect="1"/>
          </p:cNvGraphicFramePr>
          <p:nvPr>
            <p:ph idx="1"/>
          </p:nvPr>
        </p:nvGraphicFramePr>
        <p:xfrm>
          <a:off x="425865" y="1512267"/>
          <a:ext cx="8502334" cy="3456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Bruttoinlandsprodukt </a:t>
            </a:r>
            <a:r>
              <a:rPr lang="de-DE" sz="1600" b="0" dirty="0">
                <a:latin typeface="Calibri" panose="020F0502020204030204" pitchFamily="34" charset="0"/>
                <a:cs typeface="Calibri" panose="020F0502020204030204" pitchFamily="34" charset="0"/>
              </a:rPr>
              <a:t>(preisbereinigt, verkettet)</a:t>
            </a:r>
            <a:endParaRPr lang="de-DE" sz="1512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Datumsplatzhalter 9">
            <a:extLst>
              <a:ext uri="{FF2B5EF4-FFF2-40B4-BE49-F238E27FC236}">
                <a16:creationId xmlns:a16="http://schemas.microsoft.com/office/drawing/2014/main" id="{E44C0A3D-03E0-44ED-9E0C-D36A604FC2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33" name="Text Box 11"/>
          <p:cNvSpPr txBox="1">
            <a:spLocks noChangeArrowheads="1"/>
          </p:cNvSpPr>
          <p:nvPr/>
        </p:nvSpPr>
        <p:spPr bwMode="auto">
          <a:xfrm>
            <a:off x="431255" y="4860993"/>
            <a:ext cx="183223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0"/>
            </a:lvl1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Destatis, Stand: 20.11.2025</a:t>
            </a:r>
          </a:p>
        </p:txBody>
      </p:sp>
      <p:sp>
        <p:nvSpPr>
          <p:cNvPr id="26" name="Text Box 25">
            <a:extLst>
              <a:ext uri="{FF2B5EF4-FFF2-40B4-BE49-F238E27FC236}">
                <a16:creationId xmlns:a16="http://schemas.microsoft.com/office/drawing/2014/main" id="{906A48C4-4EA1-483A-B3A5-208D1403C4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43968" y="4251867"/>
            <a:ext cx="498855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8</a:t>
            </a:r>
          </a:p>
        </p:txBody>
      </p:sp>
      <p:sp>
        <p:nvSpPr>
          <p:cNvPr id="31" name="Text Box 26">
            <a:extLst>
              <a:ext uri="{FF2B5EF4-FFF2-40B4-BE49-F238E27FC236}">
                <a16:creationId xmlns:a16="http://schemas.microsoft.com/office/drawing/2014/main" id="{CD20FF6B-378F-4BBB-A4E7-1E7A36D7E4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4819" y="1519156"/>
            <a:ext cx="88517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8: 1,1%</a:t>
            </a:r>
          </a:p>
        </p:txBody>
      </p:sp>
      <p:sp>
        <p:nvSpPr>
          <p:cNvPr id="34" name="Text Box 25">
            <a:extLst>
              <a:ext uri="{FF2B5EF4-FFF2-40B4-BE49-F238E27FC236}">
                <a16:creationId xmlns:a16="http://schemas.microsoft.com/office/drawing/2014/main" id="{906A48C4-4EA1-483A-B3A5-208D1403C4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14695" y="4252901"/>
            <a:ext cx="498855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9</a:t>
            </a:r>
          </a:p>
        </p:txBody>
      </p:sp>
      <p:sp>
        <p:nvSpPr>
          <p:cNvPr id="35" name="Text Box 26">
            <a:extLst>
              <a:ext uri="{FF2B5EF4-FFF2-40B4-BE49-F238E27FC236}">
                <a16:creationId xmlns:a16="http://schemas.microsoft.com/office/drawing/2014/main" id="{CD20FF6B-378F-4BBB-A4E7-1E7A36D7E4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12488" y="1519156"/>
            <a:ext cx="88517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9: 1,0%</a:t>
            </a:r>
          </a:p>
        </p:txBody>
      </p:sp>
      <p:sp>
        <p:nvSpPr>
          <p:cNvPr id="33" name="Text Box 26">
            <a:extLst>
              <a:ext uri="{FF2B5EF4-FFF2-40B4-BE49-F238E27FC236}">
                <a16:creationId xmlns:a16="http://schemas.microsoft.com/office/drawing/2014/main" id="{CFFF0900-0711-4E01-BE97-864769B8B5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63780" y="1512267"/>
            <a:ext cx="931665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0: -4,1%</a:t>
            </a:r>
          </a:p>
        </p:txBody>
      </p:sp>
      <p:sp>
        <p:nvSpPr>
          <p:cNvPr id="36" name="Text Box 25">
            <a:extLst>
              <a:ext uri="{FF2B5EF4-FFF2-40B4-BE49-F238E27FC236}">
                <a16:creationId xmlns:a16="http://schemas.microsoft.com/office/drawing/2014/main" id="{3C46D993-5A9D-4A54-9C00-752E97FCDD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0926" y="4259604"/>
            <a:ext cx="498855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0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F13E51E-4777-41A8-9040-400DF358F8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9951" y="288131"/>
            <a:ext cx="5256000" cy="144000"/>
          </a:xfrm>
        </p:spPr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9" name="Text Box 26">
            <a:extLst>
              <a:ext uri="{FF2B5EF4-FFF2-40B4-BE49-F238E27FC236}">
                <a16:creationId xmlns:a16="http://schemas.microsoft.com/office/drawing/2014/main" id="{CFEBA867-90B3-46B4-A235-AEAE6F4C67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6886" y="1512267"/>
            <a:ext cx="88517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1: 3,9%</a:t>
            </a:r>
          </a:p>
        </p:txBody>
      </p:sp>
      <p:sp>
        <p:nvSpPr>
          <p:cNvPr id="40" name="Text Box 25">
            <a:extLst>
              <a:ext uri="{FF2B5EF4-FFF2-40B4-BE49-F238E27FC236}">
                <a16:creationId xmlns:a16="http://schemas.microsoft.com/office/drawing/2014/main" id="{531D86E4-4016-4B5E-8411-9EAB01CDE9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64348" y="4256066"/>
            <a:ext cx="498855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1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7" name="Text Box 26">
            <a:extLst>
              <a:ext uri="{FF2B5EF4-FFF2-40B4-BE49-F238E27FC236}">
                <a16:creationId xmlns:a16="http://schemas.microsoft.com/office/drawing/2014/main" id="{7279F306-BC33-43F5-BD31-6529E55C5A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26060" y="1515551"/>
            <a:ext cx="88517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2: 1,8%</a:t>
            </a:r>
          </a:p>
        </p:txBody>
      </p:sp>
      <p:sp>
        <p:nvSpPr>
          <p:cNvPr id="38" name="Text Box 25">
            <a:extLst>
              <a:ext uri="{FF2B5EF4-FFF2-40B4-BE49-F238E27FC236}">
                <a16:creationId xmlns:a16="http://schemas.microsoft.com/office/drawing/2014/main" id="{D98DE154-BC8F-418D-BCBC-ED108B4778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5391" y="4256320"/>
            <a:ext cx="498855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2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Text Box 26">
            <a:extLst>
              <a:ext uri="{FF2B5EF4-FFF2-40B4-BE49-F238E27FC236}">
                <a16:creationId xmlns:a16="http://schemas.microsoft.com/office/drawing/2014/main" id="{2C8DC2F6-1693-5CB3-39EC-B67D9EECBE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69039" y="1517809"/>
            <a:ext cx="931665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3: -0,9%</a:t>
            </a:r>
          </a:p>
        </p:txBody>
      </p:sp>
      <p:sp>
        <p:nvSpPr>
          <p:cNvPr id="5" name="Text Box 25">
            <a:extLst>
              <a:ext uri="{FF2B5EF4-FFF2-40B4-BE49-F238E27FC236}">
                <a16:creationId xmlns:a16="http://schemas.microsoft.com/office/drawing/2014/main" id="{E30D2861-8424-5BE9-5CCB-5AC06F06F3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3376" y="4254113"/>
            <a:ext cx="498855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3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Text Box 25">
            <a:extLst>
              <a:ext uri="{FF2B5EF4-FFF2-40B4-BE49-F238E27FC236}">
                <a16:creationId xmlns:a16="http://schemas.microsoft.com/office/drawing/2014/main" id="{A4730413-63EE-FBD5-3F74-A86DF3B887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65124" y="4248571"/>
            <a:ext cx="498855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4</a:t>
            </a:r>
          </a:p>
        </p:txBody>
      </p:sp>
      <p:sp>
        <p:nvSpPr>
          <p:cNvPr id="7" name="Text Box 26">
            <a:extLst>
              <a:ext uri="{FF2B5EF4-FFF2-40B4-BE49-F238E27FC236}">
                <a16:creationId xmlns:a16="http://schemas.microsoft.com/office/drawing/2014/main" id="{32B82717-1164-E86A-DAD5-8AD71A62AE8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6275" y="1520580"/>
            <a:ext cx="966931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4: -0,5 %</a:t>
            </a:r>
          </a:p>
        </p:txBody>
      </p:sp>
      <p:sp>
        <p:nvSpPr>
          <p:cNvPr id="8" name="Text Box 26">
            <a:extLst>
              <a:ext uri="{FF2B5EF4-FFF2-40B4-BE49-F238E27FC236}">
                <a16:creationId xmlns:a16="http://schemas.microsoft.com/office/drawing/2014/main" id="{7F040C0E-AAA5-9906-9A97-65F226FC41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3502" y="1519142"/>
            <a:ext cx="99738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5: </a:t>
            </a:r>
            <a:r>
              <a:rPr lang="de-DE" sz="12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,2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%*</a:t>
            </a:r>
          </a:p>
        </p:txBody>
      </p:sp>
      <p:sp>
        <p:nvSpPr>
          <p:cNvPr id="9" name="Text Box 25">
            <a:extLst>
              <a:ext uri="{FF2B5EF4-FFF2-40B4-BE49-F238E27FC236}">
                <a16:creationId xmlns:a16="http://schemas.microsoft.com/office/drawing/2014/main" id="{281E8711-A356-C643-A3DE-B9F4CFBC14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31312" y="4248571"/>
            <a:ext cx="498855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5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Text Box 11">
            <a:extLst>
              <a:ext uri="{FF2B5EF4-FFF2-40B4-BE49-F238E27FC236}">
                <a16:creationId xmlns:a16="http://schemas.microsoft.com/office/drawing/2014/main" id="{C1C97B59-ED7B-096B-ED60-1030CB8DC8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99833" y="4860993"/>
            <a:ext cx="389529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0"/>
            </a:lvl1pPr>
          </a:lstStyle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 Prognose lt. Jahresgutachten des Sachverständigenrates vom 31.10.2025</a:t>
            </a:r>
          </a:p>
        </p:txBody>
      </p:sp>
    </p:spTree>
    <p:extLst>
      <p:ext uri="{BB962C8B-B14F-4D97-AF65-F5344CB8AC3E}">
        <p14:creationId xmlns:p14="http://schemas.microsoft.com/office/powerpoint/2010/main" val="636458590"/>
      </p:ext>
    </p:extLst>
  </p:cSld>
  <p:clrMapOvr>
    <a:masterClrMapping/>
  </p:clrMapOvr>
  <p:transition spd="slow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dirty="0"/>
              <a:t>Entwicklung Preisindex bei Neuabschlüssen in der Industrie</a:t>
            </a:r>
            <a:br>
              <a:rPr lang="de-DE" dirty="0"/>
            </a:br>
            <a:r>
              <a:rPr lang="de-DE" sz="1600" b="0" dirty="0"/>
              <a:t>Jahresverbrauch 160.000 bis 20 Mio. kWh, ohne Berücksichtigung der Stromsteuer</a:t>
            </a:r>
            <a:br>
              <a:rPr lang="de-DE" sz="1600" b="0" dirty="0"/>
            </a:br>
            <a:r>
              <a:rPr lang="de-DE" sz="1600" dirty="0"/>
              <a:t> </a:t>
            </a:r>
            <a:endParaRPr lang="en-US" sz="1600" dirty="0"/>
          </a:p>
        </p:txBody>
      </p:sp>
      <p:graphicFrame>
        <p:nvGraphicFramePr>
          <p:cNvPr id="16" name="Object 2"/>
          <p:cNvGraphicFramePr>
            <a:graphicFrameLocks noGrp="1" noChangeAspect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051666"/>
              </p:ext>
            </p:extLst>
          </p:nvPr>
        </p:nvGraphicFramePr>
        <p:xfrm>
          <a:off x="408941" y="1296244"/>
          <a:ext cx="8591266" cy="3471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445468EC-EBA1-41A7-892A-1916E2024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F05FCD9-0B20-4691-A035-5CD87384F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</a:p>
        </p:txBody>
      </p:sp>
      <p:sp>
        <p:nvSpPr>
          <p:cNvPr id="2" name="Text Box 11">
            <a:extLst>
              <a:ext uri="{FF2B5EF4-FFF2-40B4-BE49-F238E27FC236}">
                <a16:creationId xmlns:a16="http://schemas.microsoft.com/office/drawing/2014/main" id="{27892E0E-F9CF-DB65-B540-66BE22F741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1257" y="4860993"/>
            <a:ext cx="174727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</a:t>
            </a:r>
            <a:r>
              <a:rPr lang="de-DE" i="0" dirty="0">
                <a:solidFill>
                  <a:srgbClr val="000000"/>
                </a:solidFill>
                <a:latin typeface="Calibri"/>
                <a:cs typeface="Calibri"/>
              </a:rPr>
              <a:t>VEA, Datenstand 11/2025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1BDA12C-92CD-09F1-2AB0-A7F727882C10}"/>
              </a:ext>
            </a:extLst>
          </p:cNvPr>
          <p:cNvSpPr txBox="1"/>
          <p:nvPr/>
        </p:nvSpPr>
        <p:spPr>
          <a:xfrm>
            <a:off x="7028625" y="1804491"/>
            <a:ext cx="550152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3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8BA6AA54-3139-A86E-9359-785DF34FFF68}"/>
              </a:ext>
            </a:extLst>
          </p:cNvPr>
          <p:cNvSpPr txBox="1"/>
          <p:nvPr/>
        </p:nvSpPr>
        <p:spPr>
          <a:xfrm>
            <a:off x="1036816" y="1804491"/>
            <a:ext cx="550151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5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CA90309-28B2-D70B-07F1-BF0E0DA32FF8}"/>
              </a:ext>
            </a:extLst>
          </p:cNvPr>
          <p:cNvSpPr txBox="1"/>
          <p:nvPr/>
        </p:nvSpPr>
        <p:spPr>
          <a:xfrm>
            <a:off x="1785792" y="1804491"/>
            <a:ext cx="550151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6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53123C1-3AD1-4D38-614D-B5B0772D38A3}"/>
              </a:ext>
            </a:extLst>
          </p:cNvPr>
          <p:cNvSpPr txBox="1"/>
          <p:nvPr/>
        </p:nvSpPr>
        <p:spPr>
          <a:xfrm>
            <a:off x="2534768" y="1804491"/>
            <a:ext cx="550151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7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4096057-2892-0433-F73E-36B6F38E0A74}"/>
              </a:ext>
            </a:extLst>
          </p:cNvPr>
          <p:cNvSpPr txBox="1"/>
          <p:nvPr/>
        </p:nvSpPr>
        <p:spPr>
          <a:xfrm>
            <a:off x="3283744" y="1804491"/>
            <a:ext cx="550151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8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9BB0F16-CDE2-64FE-3BDC-3E4D18B57194}"/>
              </a:ext>
            </a:extLst>
          </p:cNvPr>
          <p:cNvSpPr txBox="1"/>
          <p:nvPr/>
        </p:nvSpPr>
        <p:spPr>
          <a:xfrm>
            <a:off x="4032720" y="1804491"/>
            <a:ext cx="550151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9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0F8FBC1-351A-7606-81B2-1E9134CE3B59}"/>
              </a:ext>
            </a:extLst>
          </p:cNvPr>
          <p:cNvSpPr txBox="1"/>
          <p:nvPr/>
        </p:nvSpPr>
        <p:spPr>
          <a:xfrm>
            <a:off x="4781696" y="1804491"/>
            <a:ext cx="550151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0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DD680A3-F6F3-A16D-FDAC-814E6EA5FB3C}"/>
              </a:ext>
            </a:extLst>
          </p:cNvPr>
          <p:cNvSpPr txBox="1"/>
          <p:nvPr/>
        </p:nvSpPr>
        <p:spPr>
          <a:xfrm>
            <a:off x="5530672" y="1804491"/>
            <a:ext cx="550151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1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916D8FE-5A29-D738-CA44-DB989DAB6B2F}"/>
              </a:ext>
            </a:extLst>
          </p:cNvPr>
          <p:cNvSpPr txBox="1"/>
          <p:nvPr/>
        </p:nvSpPr>
        <p:spPr>
          <a:xfrm>
            <a:off x="6279648" y="1804491"/>
            <a:ext cx="550152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2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339E0CF-0C73-74F0-C371-62B8159CCBAA}"/>
              </a:ext>
            </a:extLst>
          </p:cNvPr>
          <p:cNvSpPr txBox="1"/>
          <p:nvPr/>
        </p:nvSpPr>
        <p:spPr>
          <a:xfrm>
            <a:off x="7777600" y="1804491"/>
            <a:ext cx="550152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4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3807EB38-B5C0-9365-0518-D506E3C23A13}"/>
              </a:ext>
            </a:extLst>
          </p:cNvPr>
          <p:cNvSpPr txBox="1"/>
          <p:nvPr/>
        </p:nvSpPr>
        <p:spPr>
          <a:xfrm>
            <a:off x="8378047" y="1804491"/>
            <a:ext cx="550152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2849885251"/>
      </p:ext>
    </p:extLst>
  </p:cSld>
  <p:clrMapOvr>
    <a:masterClrMapping/>
  </p:clrMapOvr>
  <p:transition spd="slow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7CA158C8-26DF-70C3-4B39-3C5BD4FAA8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3761" y="1641769"/>
            <a:ext cx="8418178" cy="3251821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20000"/>
                </a:solidFill>
              </a:rPr>
              <a:t>Preisentwicklung Erdgas am Terminmarkt (THE)</a:t>
            </a:r>
            <a:br>
              <a:rPr lang="de-DE" dirty="0">
                <a:solidFill>
                  <a:srgbClr val="C20000"/>
                </a:solidFill>
              </a:rPr>
            </a:br>
            <a:r>
              <a:rPr lang="de-DE" sz="1600" b="0" dirty="0">
                <a:solidFill>
                  <a:srgbClr val="C20000"/>
                </a:solidFill>
              </a:rPr>
              <a:t>Jahr 2024 und 1.-3. Quartal 2025</a:t>
            </a:r>
            <a:br>
              <a:rPr lang="de-DE" dirty="0">
                <a:solidFill>
                  <a:srgbClr val="C20000"/>
                </a:solidFill>
              </a:rPr>
            </a:br>
            <a:endParaRPr lang="de-DE" sz="1600" b="0" dirty="0">
              <a:solidFill>
                <a:srgbClr val="C20000"/>
              </a:solidFill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61A2D8B-3BAC-4265-BEE9-1BFED70451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3DADE9-D075-ABC0-BAFA-40F80FDA03EE}"/>
              </a:ext>
            </a:extLst>
          </p:cNvPr>
          <p:cNvSpPr txBox="1"/>
          <p:nvPr/>
        </p:nvSpPr>
        <p:spPr>
          <a:xfrm>
            <a:off x="431437" y="4860429"/>
            <a:ext cx="58509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0"/>
            </a:lvl1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EEX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C9026B32-4C7A-49CD-372C-1C5C1325B8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9367" y="288131"/>
            <a:ext cx="5256000" cy="144000"/>
          </a:xfrm>
        </p:spPr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93032063"/>
      </p:ext>
    </p:extLst>
  </p:cSld>
  <p:clrMapOvr>
    <a:masterClrMapping/>
  </p:clrMapOvr>
  <p:transition spd="slow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872ED4F3-E5AC-3845-0ADB-4731BC1DA7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3051" y="1543621"/>
            <a:ext cx="8395230" cy="3425253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20000"/>
                </a:solidFill>
              </a:rPr>
              <a:t>Preisentwicklung Erdgas am Spotmarkt (THE) </a:t>
            </a:r>
            <a:br>
              <a:rPr lang="de-DE" dirty="0">
                <a:solidFill>
                  <a:srgbClr val="C20000"/>
                </a:solidFill>
              </a:rPr>
            </a:br>
            <a:r>
              <a:rPr lang="de-DE" sz="1600" b="0" dirty="0">
                <a:solidFill>
                  <a:srgbClr val="C20000"/>
                </a:solidFill>
              </a:rPr>
              <a:t>Jahre 2023, 2024 und 1.-3. Quartal 2025</a:t>
            </a:r>
            <a:br>
              <a:rPr lang="de-DE" dirty="0">
                <a:solidFill>
                  <a:srgbClr val="C20000"/>
                </a:solidFill>
              </a:rPr>
            </a:br>
            <a:endParaRPr lang="de-DE" sz="1600" b="0" dirty="0">
              <a:solidFill>
                <a:srgbClr val="C20000"/>
              </a:solidFill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61A2D8B-3BAC-4265-BEE9-1BFED70451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E5A14B7-9A9E-4E0E-A373-9013D9C4881C}"/>
              </a:ext>
            </a:extLst>
          </p:cNvPr>
          <p:cNvSpPr txBox="1"/>
          <p:nvPr/>
        </p:nvSpPr>
        <p:spPr>
          <a:xfrm>
            <a:off x="431313" y="4859745"/>
            <a:ext cx="58509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0"/>
            </a:lvl1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EE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1AE41BB-8FB3-5ED6-9B79-6CD6E9822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9367" y="288131"/>
            <a:ext cx="5256000" cy="144000"/>
          </a:xfrm>
        </p:spPr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72510333"/>
      </p:ext>
    </p:extLst>
  </p:cSld>
  <p:clrMapOvr>
    <a:masterClrMapping/>
  </p:clrMapOvr>
  <p:transition spd="slow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B104711A-A4A1-852D-13DF-67E45F9131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388687" y="1487713"/>
            <a:ext cx="8407406" cy="3529753"/>
          </a:xfrm>
          <a:prstGeom prst="rect">
            <a:avLst/>
          </a:prstGeom>
        </p:spPr>
      </p:pic>
      <p:sp>
        <p:nvSpPr>
          <p:cNvPr id="194562" name="Rectangle 2"/>
          <p:cNvSpPr>
            <a:spLocks noGrp="1" noChangeArrowheads="1"/>
          </p:cNvSpPr>
          <p:nvPr>
            <p:ph type="title"/>
          </p:nvPr>
        </p:nvSpPr>
        <p:spPr>
          <a:xfrm>
            <a:off x="431256" y="864639"/>
            <a:ext cx="8496399" cy="647628"/>
          </a:xfrm>
        </p:spPr>
        <p:txBody>
          <a:bodyPr/>
          <a:lstStyle/>
          <a:p>
            <a:r>
              <a:rPr lang="de-DE" dirty="0"/>
              <a:t>Erdgaspreis für Haushalte (EFH) in ct/kWh</a:t>
            </a:r>
            <a:br>
              <a:rPr lang="de-DE" dirty="0"/>
            </a:br>
            <a:r>
              <a:rPr lang="de-DE" sz="1600" b="0" dirty="0"/>
              <a:t>Durchschnittlicher Gaspreis </a:t>
            </a:r>
            <a:r>
              <a:rPr lang="de-DE" sz="1600" b="0"/>
              <a:t>für einen Haushalt, Einfamilienhaus, </a:t>
            </a:r>
            <a:r>
              <a:rPr lang="de-DE" sz="1600" b="0" dirty="0"/>
              <a:t>Jahresverbrauch </a:t>
            </a:r>
            <a:r>
              <a:rPr lang="de-DE" sz="1600" b="0"/>
              <a:t>20.000 kWh*</a:t>
            </a:r>
            <a:br>
              <a:rPr lang="de-DE" sz="1600" b="0" dirty="0"/>
            </a:br>
            <a:endParaRPr lang="de-DE" sz="1600" b="0" dirty="0"/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16206595-7218-49D1-B932-3A81EF7F6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</a:p>
        </p:txBody>
      </p:sp>
      <p:sp>
        <p:nvSpPr>
          <p:cNvPr id="6" name="Text Box 4">
            <a:extLst>
              <a:ext uri="{FF2B5EF4-FFF2-40B4-BE49-F238E27FC236}">
                <a16:creationId xmlns:a16="http://schemas.microsoft.com/office/drawing/2014/main" id="{C39F2684-CED7-568A-3C76-B0A82DB2495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32929" y="4851670"/>
            <a:ext cx="211831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2"/>
                </a:solidFill>
                <a:miter lim="800000"/>
                <a:headEnd/>
                <a:tailEnd type="none" w="lg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>
              <a:spcBef>
                <a:spcPct val="45000"/>
              </a:spcBef>
              <a:spcAft>
                <a:spcPct val="20000"/>
              </a:spcAft>
              <a:buClr>
                <a:srgbClr val="DE0029"/>
              </a:buClr>
              <a:buFont typeface="Wingdings" pitchFamily="2" charset="2"/>
              <a:buNone/>
            </a:pPr>
            <a:r>
              <a:rPr lang="de-DE" sz="1000" dirty="0"/>
              <a:t>Quelle: BDEW, Stand: 11/2025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91704993-E8A3-3133-85B2-727E0CA2A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9367" y="288131"/>
            <a:ext cx="5256000" cy="144000"/>
          </a:xfrm>
        </p:spPr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8CA1DE5-AAC1-3B74-0502-BDFA274B8A66}"/>
              </a:ext>
            </a:extLst>
          </p:cNvPr>
          <p:cNvSpPr txBox="1"/>
          <p:nvPr/>
        </p:nvSpPr>
        <p:spPr>
          <a:xfrm>
            <a:off x="6839967" y="3816523"/>
            <a:ext cx="2000322" cy="11521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</a:pPr>
            <a:endParaRPr lang="de-DE" sz="1800" dirty="0" err="1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0950DA7-34BA-C985-F6D4-223FE91C36F2}"/>
              </a:ext>
            </a:extLst>
          </p:cNvPr>
          <p:cNvSpPr txBox="1"/>
          <p:nvPr/>
        </p:nvSpPr>
        <p:spPr>
          <a:xfrm>
            <a:off x="7015953" y="3888531"/>
            <a:ext cx="1800200" cy="1077218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de-DE" sz="1000" dirty="0"/>
              <a:t>* Erdgas-Zentralheizung mit Warmwasserbereitung.</a:t>
            </a:r>
            <a:br>
              <a:rPr lang="de-DE" sz="1000" dirty="0"/>
            </a:br>
            <a:br>
              <a:rPr lang="de-DE" sz="1000" dirty="0"/>
            </a:br>
            <a:r>
              <a:rPr lang="de-DE" sz="1000" dirty="0"/>
              <a:t>Heizgas-Kunden sind i. d. R. Sondervertragskunden mit geminderter Konzessionsabgabe (0,03 ct/kWh)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764AF1-5E46-B0A3-FDF4-C27F5E38047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61000"/>
          </a:blip>
          <a:stretch>
            <a:fillRect/>
          </a:stretch>
        </p:blipFill>
        <p:spPr>
          <a:xfrm>
            <a:off x="1007319" y="1944315"/>
            <a:ext cx="1152556" cy="115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1729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C6B938C9-30FA-4DCC-3104-2C03C6E64D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393411" y="1505930"/>
            <a:ext cx="8380168" cy="3508652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1091738-6E6A-A808-972D-E271CCCD203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55000"/>
          </a:blip>
          <a:stretch>
            <a:fillRect/>
          </a:stretch>
        </p:blipFill>
        <p:spPr>
          <a:xfrm>
            <a:off x="863303" y="1656283"/>
            <a:ext cx="1465511" cy="1464967"/>
          </a:xfrm>
          <a:prstGeom prst="rect">
            <a:avLst/>
          </a:prstGeom>
        </p:spPr>
      </p:pic>
      <p:sp>
        <p:nvSpPr>
          <p:cNvPr id="194562" name="Rectangle 2"/>
          <p:cNvSpPr>
            <a:spLocks noGrp="1" noChangeArrowheads="1"/>
          </p:cNvSpPr>
          <p:nvPr>
            <p:ph type="title"/>
          </p:nvPr>
        </p:nvSpPr>
        <p:spPr>
          <a:xfrm>
            <a:off x="431256" y="864639"/>
            <a:ext cx="8496399" cy="647628"/>
          </a:xfrm>
        </p:spPr>
        <p:txBody>
          <a:bodyPr/>
          <a:lstStyle/>
          <a:p>
            <a:r>
              <a:rPr lang="de-DE" dirty="0"/>
              <a:t>Erdgaspreis für Haushalte (MFH) in ct/kWh</a:t>
            </a:r>
            <a:br>
              <a:rPr lang="de-DE" dirty="0"/>
            </a:br>
            <a:r>
              <a:rPr lang="de-DE" sz="1450" b="0" dirty="0"/>
              <a:t>Durchschnittlicher Gaspreis </a:t>
            </a:r>
            <a:r>
              <a:rPr lang="de-DE" sz="1450" b="0"/>
              <a:t>für einen Haushalt im Mehrfamilienhaus (6 Parteien, </a:t>
            </a:r>
            <a:r>
              <a:rPr lang="de-DE" sz="1450" b="0" dirty="0"/>
              <a:t>Jahresverbrauch </a:t>
            </a:r>
            <a:r>
              <a:rPr lang="de-DE" sz="1450" b="0"/>
              <a:t>80.000 kWh*)</a:t>
            </a:r>
            <a:br>
              <a:rPr lang="de-DE" sz="1600" b="0" dirty="0"/>
            </a:br>
            <a:endParaRPr lang="de-DE" sz="1600" b="0" dirty="0"/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16206595-7218-49D1-B932-3A81EF7F6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</a:p>
        </p:txBody>
      </p:sp>
      <p:sp>
        <p:nvSpPr>
          <p:cNvPr id="6" name="Text Box 4">
            <a:extLst>
              <a:ext uri="{FF2B5EF4-FFF2-40B4-BE49-F238E27FC236}">
                <a16:creationId xmlns:a16="http://schemas.microsoft.com/office/drawing/2014/main" id="{85564905-BC13-F3B9-4768-D949B8494F9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34602" y="4857322"/>
            <a:ext cx="180020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2"/>
                </a:solidFill>
                <a:miter lim="800000"/>
                <a:headEnd/>
                <a:tailEnd type="none" w="lg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spcBef>
                <a:spcPct val="45000"/>
              </a:spcBef>
              <a:spcAft>
                <a:spcPct val="20000"/>
              </a:spcAft>
              <a:buClr>
                <a:srgbClr val="DE0029"/>
              </a:buClr>
              <a:buFont typeface="Wingdings" pitchFamily="2" charset="2"/>
              <a:buNone/>
            </a:pPr>
            <a:r>
              <a:rPr lang="de-DE" sz="1000" dirty="0"/>
              <a:t>Quelle: BDEW, Stand: 11/2025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6883991B-63A3-4D81-0E1D-CF88952726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9367" y="288131"/>
            <a:ext cx="5256000" cy="144000"/>
          </a:xfrm>
        </p:spPr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C4325C7-25AF-AFFA-4865-73DE04BEB28B}"/>
              </a:ext>
            </a:extLst>
          </p:cNvPr>
          <p:cNvSpPr txBox="1"/>
          <p:nvPr/>
        </p:nvSpPr>
        <p:spPr>
          <a:xfrm>
            <a:off x="7015954" y="3744515"/>
            <a:ext cx="1696222" cy="123110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1000" dirty="0"/>
              <a:t>* Erdgas-Zentralheizung mit Warmwasserbereitung; </a:t>
            </a:r>
            <a:br>
              <a:rPr lang="de-DE" sz="1000" dirty="0"/>
            </a:br>
            <a:r>
              <a:rPr lang="de-DE" sz="1000" dirty="0"/>
              <a:t>13.333 kWh pro Wohneinheit.</a:t>
            </a:r>
            <a:br>
              <a:rPr lang="de-DE" sz="1000" dirty="0"/>
            </a:br>
            <a:br>
              <a:rPr lang="de-DE" sz="1000" dirty="0"/>
            </a:br>
            <a:r>
              <a:rPr lang="de-DE" sz="1000" dirty="0"/>
              <a:t>Heizgas-Kunden sind i. d. R. Sondervertragskunden mit geminderter Konzessionsabgabe (0,03 ct/kWh).</a:t>
            </a:r>
          </a:p>
        </p:txBody>
      </p:sp>
    </p:spTree>
    <p:extLst>
      <p:ext uri="{BB962C8B-B14F-4D97-AF65-F5344CB8AC3E}">
        <p14:creationId xmlns:p14="http://schemas.microsoft.com/office/powerpoint/2010/main" val="164248249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52403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88" imgH="288" progId="TCLayout.ActiveDocument.1">
                  <p:embed/>
                </p:oleObj>
              </mc:Choice>
              <mc:Fallback>
                <p:oleObj name="think-cell Folie" r:id="rId5" imgW="288" imgH="288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52403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2"/>
            </p:custDataLst>
          </p:nvPr>
        </p:nvSpPr>
        <p:spPr bwMode="auto">
          <a:xfrm>
            <a:off x="1151202" y="-1"/>
            <a:ext cx="120018" cy="120018"/>
          </a:xfrm>
          <a:prstGeom prst="rect">
            <a:avLst/>
          </a:prstGeom>
          <a:solidFill>
            <a:schemeClr val="accent1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39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Calibri"/>
              <a:sym typeface="Arial" panose="020B0604020202020204" pitchFamily="34" charset="0"/>
            </a:endParaRPr>
          </a:p>
        </p:txBody>
      </p:sp>
      <p:sp>
        <p:nvSpPr>
          <p:cNvPr id="20" name="Titel 19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Gaspreisentwicklung für Haushalte und Industrie</a:t>
            </a:r>
          </a:p>
        </p:txBody>
      </p:sp>
      <p:graphicFrame>
        <p:nvGraphicFramePr>
          <p:cNvPr id="7" name="Object 3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509653688"/>
              </p:ext>
            </p:extLst>
          </p:nvPr>
        </p:nvGraphicFramePr>
        <p:xfrm>
          <a:off x="293934" y="1658979"/>
          <a:ext cx="8496399" cy="3168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77" name="Text Box 5"/>
          <p:cNvSpPr txBox="1">
            <a:spLocks noChangeArrowheads="1"/>
          </p:cNvSpPr>
          <p:nvPr/>
        </p:nvSpPr>
        <p:spPr bwMode="auto">
          <a:xfrm>
            <a:off x="795972" y="1437812"/>
            <a:ext cx="1443408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dex 2021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= 100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6684659" y="1744475"/>
            <a:ext cx="550152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3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965626" y="1744475"/>
            <a:ext cx="550151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5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7217520" y="3224985"/>
            <a:ext cx="852734" cy="3032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6AA2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dustrie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7206158" y="2592387"/>
            <a:ext cx="934295" cy="3032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62B74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aushalte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1680505" y="1744475"/>
            <a:ext cx="550151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6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2395384" y="1744475"/>
            <a:ext cx="550151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7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3110263" y="1744475"/>
            <a:ext cx="550151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8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3825142" y="1744475"/>
            <a:ext cx="550151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9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4A50E72B-DB9C-49A7-B149-2DC8263E37A4}"/>
              </a:ext>
            </a:extLst>
          </p:cNvPr>
          <p:cNvSpPr txBox="1"/>
          <p:nvPr/>
        </p:nvSpPr>
        <p:spPr>
          <a:xfrm>
            <a:off x="4540021" y="1744475"/>
            <a:ext cx="550151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0</a:t>
            </a:r>
          </a:p>
        </p:txBody>
      </p:sp>
      <p:sp>
        <p:nvSpPr>
          <p:cNvPr id="24" name="Text Box 11">
            <a:extLst>
              <a:ext uri="{FF2B5EF4-FFF2-40B4-BE49-F238E27FC236}">
                <a16:creationId xmlns:a16="http://schemas.microsoft.com/office/drawing/2014/main" id="{D51D5C1C-5BDC-4A07-8150-9A5C2CD26E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2336" y="4861476"/>
            <a:ext cx="165269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uelle: Destatis, Stand </a:t>
            </a:r>
            <a:r>
              <a:rPr lang="de-DE" i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/2025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3C4506D-E0BC-4313-BF7A-258001C32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0C3067F4-E959-4FE0-B6B1-027301275346}"/>
              </a:ext>
            </a:extLst>
          </p:cNvPr>
          <p:cNvSpPr txBox="1"/>
          <p:nvPr/>
        </p:nvSpPr>
        <p:spPr>
          <a:xfrm>
            <a:off x="5254900" y="1744475"/>
            <a:ext cx="550151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1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2CE201-66D8-4B09-A249-25FD7FA475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4AA2AE5E-F6D4-448F-A88D-E5E4783C47CF}"/>
              </a:ext>
            </a:extLst>
          </p:cNvPr>
          <p:cNvSpPr txBox="1"/>
          <p:nvPr/>
        </p:nvSpPr>
        <p:spPr>
          <a:xfrm>
            <a:off x="5969779" y="1744475"/>
            <a:ext cx="550152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2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9194B60-D03B-AFB6-2BAC-AA34F3F45B02}"/>
              </a:ext>
            </a:extLst>
          </p:cNvPr>
          <p:cNvSpPr txBox="1"/>
          <p:nvPr/>
        </p:nvSpPr>
        <p:spPr>
          <a:xfrm>
            <a:off x="7399542" y="1744475"/>
            <a:ext cx="550152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4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0BB5816-0FAE-7EDB-B46F-B75E9DB01846}"/>
              </a:ext>
            </a:extLst>
          </p:cNvPr>
          <p:cNvSpPr txBox="1"/>
          <p:nvPr/>
        </p:nvSpPr>
        <p:spPr>
          <a:xfrm>
            <a:off x="7998246" y="1744475"/>
            <a:ext cx="550152" cy="30322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2993358395"/>
      </p:ext>
    </p:extLst>
  </p:cSld>
  <p:clrMapOvr>
    <a:masterClrMapping/>
  </p:clrMapOvr>
  <p:transition spd="slow"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A5C9280D-77CE-3502-F764-A35A1FD636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3761" y="1678054"/>
            <a:ext cx="8496943" cy="3291002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eisentwicklung für CO</a:t>
            </a:r>
            <a:r>
              <a:rPr lang="de-DE" baseline="-25000" dirty="0"/>
              <a:t>2</a:t>
            </a:r>
            <a:r>
              <a:rPr lang="de-DE" dirty="0"/>
              <a:t>-Emissionszertifikate </a:t>
            </a:r>
            <a:br>
              <a:rPr lang="de-DE" dirty="0"/>
            </a:br>
            <a:r>
              <a:rPr lang="de-DE" sz="1600" b="0" dirty="0"/>
              <a:t>Jahre 2023, 2024 und 1.-3. Quartal 2025</a:t>
            </a:r>
            <a:br>
              <a:rPr lang="de-DE" dirty="0"/>
            </a:br>
            <a:endParaRPr lang="de-DE" sz="1600" b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C5B1EE1-2366-4B01-AA3D-F9D2C3DFEF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9A17545-2997-44BD-9E9D-431EBB938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BD6F3A5F-0824-4828-9FC8-B0CDB59204C1}"/>
              </a:ext>
            </a:extLst>
          </p:cNvPr>
          <p:cNvSpPr txBox="1"/>
          <p:nvPr/>
        </p:nvSpPr>
        <p:spPr>
          <a:xfrm>
            <a:off x="431800" y="4858957"/>
            <a:ext cx="59471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EEX</a:t>
            </a:r>
          </a:p>
        </p:txBody>
      </p:sp>
    </p:spTree>
    <p:extLst>
      <p:ext uri="{BB962C8B-B14F-4D97-AF65-F5344CB8AC3E}">
        <p14:creationId xmlns:p14="http://schemas.microsoft.com/office/powerpoint/2010/main" val="701492950"/>
      </p:ext>
    </p:extLst>
  </p:cSld>
  <p:clrMapOvr>
    <a:masterClrMapping/>
  </p:clrMapOvr>
  <p:transition spd="slow"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reibhausgas-Emissionen des Sektors Energiewirtschaft</a:t>
            </a:r>
            <a:br>
              <a:rPr lang="de-DE" dirty="0"/>
            </a:br>
            <a:r>
              <a:rPr lang="de-DE" sz="1600" b="0" dirty="0"/>
              <a:t>in Mio. t CO</a:t>
            </a:r>
            <a:r>
              <a:rPr lang="de-DE" sz="1600" b="0" baseline="-25000" dirty="0"/>
              <a:t>2</a:t>
            </a:r>
            <a:r>
              <a:rPr lang="de-DE" sz="1600" b="0" dirty="0"/>
              <a:t> </a:t>
            </a:r>
            <a:r>
              <a:rPr lang="de-DE" sz="1600" b="0" dirty="0" err="1"/>
              <a:t>eq</a:t>
            </a:r>
            <a:r>
              <a:rPr lang="de-DE" sz="1600" b="0" dirty="0"/>
              <a:t>. und Minderung gegenüber 1990 in %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916E1D9-3EB0-49F4-9F15-70473EC8A5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FD6D1C61-49D9-8907-B68A-6660C3CEF1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  <p:graphicFrame>
        <p:nvGraphicFramePr>
          <p:cNvPr id="13" name="Inhaltsplatzhalter 1">
            <a:extLst>
              <a:ext uri="{FF2B5EF4-FFF2-40B4-BE49-F238E27FC236}">
                <a16:creationId xmlns:a16="http://schemas.microsoft.com/office/drawing/2014/main" id="{4A498D9B-6885-8700-792D-2CB3AB41CA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7012665"/>
              </p:ext>
            </p:extLst>
          </p:nvPr>
        </p:nvGraphicFramePr>
        <p:xfrm>
          <a:off x="431800" y="1725885"/>
          <a:ext cx="8351838" cy="3168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F2E96021-CE4A-A048-22CE-5F4039ECC1E5}"/>
              </a:ext>
            </a:extLst>
          </p:cNvPr>
          <p:cNvSpPr txBox="1"/>
          <p:nvPr/>
        </p:nvSpPr>
        <p:spPr>
          <a:xfrm>
            <a:off x="431255" y="4860508"/>
            <a:ext cx="335668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n: </a:t>
            </a: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DEW, UBA, Bundes-Klimaschutzgesetz; Stand 05/2025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1956F5D-9C34-AEBA-B628-48EF80DC136B}"/>
              </a:ext>
            </a:extLst>
          </p:cNvPr>
          <p:cNvSpPr txBox="1"/>
          <p:nvPr/>
        </p:nvSpPr>
        <p:spPr>
          <a:xfrm>
            <a:off x="8292849" y="1581367"/>
            <a:ext cx="453970" cy="29649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lang="de-DE" sz="1200" b="1">
                <a:solidFill>
                  <a:schemeClr val="bg2"/>
                </a:solidFill>
                <a:latin typeface="Calibri"/>
                <a:cs typeface="Calibri"/>
              </a:rPr>
              <a:t>77</a:t>
            </a: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%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BF39C84-4686-5AB7-8232-1243024C84F6}"/>
              </a:ext>
            </a:extLst>
          </p:cNvPr>
          <p:cNvSpPr txBox="1"/>
          <p:nvPr/>
        </p:nvSpPr>
        <p:spPr>
          <a:xfrm>
            <a:off x="2844395" y="1576526"/>
            <a:ext cx="453970" cy="29649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4859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6%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85B0AA0-A43A-F2F1-0D74-D8823BCD21FD}"/>
              </a:ext>
            </a:extLst>
          </p:cNvPr>
          <p:cNvSpPr txBox="1"/>
          <p:nvPr/>
        </p:nvSpPr>
        <p:spPr>
          <a:xfrm>
            <a:off x="3549775" y="1576526"/>
            <a:ext cx="453970" cy="29649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4859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31%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A4F90709-760B-A357-3715-E40F695C9ECD}"/>
              </a:ext>
            </a:extLst>
          </p:cNvPr>
          <p:cNvSpPr txBox="1"/>
          <p:nvPr/>
        </p:nvSpPr>
        <p:spPr>
          <a:xfrm>
            <a:off x="5313225" y="1576526"/>
            <a:ext cx="453970" cy="29649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4859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46%</a:t>
            </a:r>
          </a:p>
        </p:txBody>
      </p:sp>
      <p:cxnSp>
        <p:nvCxnSpPr>
          <p:cNvPr id="28" name="Gerade Verbindung 9">
            <a:extLst>
              <a:ext uri="{FF2B5EF4-FFF2-40B4-BE49-F238E27FC236}">
                <a16:creationId xmlns:a16="http://schemas.microsoft.com/office/drawing/2014/main" id="{A8BE9250-8B77-2998-F6E9-0A96609B3CD6}"/>
              </a:ext>
            </a:extLst>
          </p:cNvPr>
          <p:cNvCxnSpPr>
            <a:cxnSpLocks/>
          </p:cNvCxnSpPr>
          <p:nvPr/>
        </p:nvCxnSpPr>
        <p:spPr bwMode="auto">
          <a:xfrm>
            <a:off x="1286384" y="1963858"/>
            <a:ext cx="7281775" cy="1693659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C2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3F2DD48-532A-B0FA-84F3-0AA989E98D24}"/>
              </a:ext>
            </a:extLst>
          </p:cNvPr>
          <p:cNvSpPr txBox="1"/>
          <p:nvPr/>
        </p:nvSpPr>
        <p:spPr>
          <a:xfrm>
            <a:off x="6255233" y="4860508"/>
            <a:ext cx="2499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 vorläufig ** gemäß Bundes-Klimaschutzgesetz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EBE38B44-7602-F60D-7535-EB639CD4F4F5}"/>
              </a:ext>
            </a:extLst>
          </p:cNvPr>
          <p:cNvSpPr txBox="1"/>
          <p:nvPr/>
        </p:nvSpPr>
        <p:spPr>
          <a:xfrm>
            <a:off x="3902465" y="1576526"/>
            <a:ext cx="453970" cy="29649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4859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35%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748592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082ADF42-AE5F-BA36-9C1E-C75AE0BDC3D6}"/>
              </a:ext>
            </a:extLst>
          </p:cNvPr>
          <p:cNvSpPr txBox="1"/>
          <p:nvPr/>
        </p:nvSpPr>
        <p:spPr>
          <a:xfrm>
            <a:off x="3197085" y="1576526"/>
            <a:ext cx="453970" cy="29649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4859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7%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748592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1B3FBF32-2C00-0B3A-135F-DB2340E6BB66}"/>
              </a:ext>
            </a:extLst>
          </p:cNvPr>
          <p:cNvSpPr txBox="1"/>
          <p:nvPr/>
        </p:nvSpPr>
        <p:spPr>
          <a:xfrm>
            <a:off x="2491705" y="1576526"/>
            <a:ext cx="453970" cy="29649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4859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2%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748592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AE28A72B-B727-ED12-9B85-8A680A211B9A}"/>
              </a:ext>
            </a:extLst>
          </p:cNvPr>
          <p:cNvSpPr txBox="1"/>
          <p:nvPr/>
        </p:nvSpPr>
        <p:spPr>
          <a:xfrm>
            <a:off x="2139014" y="1576526"/>
            <a:ext cx="453971" cy="29649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4859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5%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748592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BC0439A3-4CE3-152F-8D73-E05DA0571267}"/>
              </a:ext>
            </a:extLst>
          </p:cNvPr>
          <p:cNvSpPr txBox="1"/>
          <p:nvPr/>
        </p:nvSpPr>
        <p:spPr>
          <a:xfrm>
            <a:off x="1786324" y="1576526"/>
            <a:ext cx="453970" cy="29649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4859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8%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748592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E062592F-75DD-F562-1358-C055C051F759}"/>
              </a:ext>
            </a:extLst>
          </p:cNvPr>
          <p:cNvSpPr txBox="1"/>
          <p:nvPr/>
        </p:nvSpPr>
        <p:spPr>
          <a:xfrm>
            <a:off x="1433634" y="1576526"/>
            <a:ext cx="453970" cy="29649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4859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4%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2934A194-B6D8-6BDA-E0C9-0229A0E58F05}"/>
              </a:ext>
            </a:extLst>
          </p:cNvPr>
          <p:cNvSpPr txBox="1"/>
          <p:nvPr/>
        </p:nvSpPr>
        <p:spPr>
          <a:xfrm>
            <a:off x="4255155" y="1576526"/>
            <a:ext cx="453970" cy="29649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4859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46%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748592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D86218D1-02AA-C1B3-E1C6-E366895B1D07}"/>
              </a:ext>
            </a:extLst>
          </p:cNvPr>
          <p:cNvSpPr txBox="1"/>
          <p:nvPr/>
        </p:nvSpPr>
        <p:spPr>
          <a:xfrm>
            <a:off x="4607845" y="1576526"/>
            <a:ext cx="453970" cy="29649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4859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54%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748592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72643534-6D00-1C9E-2ECB-A41A2750631C}"/>
              </a:ext>
            </a:extLst>
          </p:cNvPr>
          <p:cNvSpPr txBox="1"/>
          <p:nvPr/>
        </p:nvSpPr>
        <p:spPr>
          <a:xfrm>
            <a:off x="4960535" y="1576526"/>
            <a:ext cx="453970" cy="29649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4859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48%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1998B152-65F3-3738-51E7-212BC0ECB760}"/>
              </a:ext>
            </a:extLst>
          </p:cNvPr>
          <p:cNvSpPr txBox="1"/>
          <p:nvPr/>
        </p:nvSpPr>
        <p:spPr>
          <a:xfrm>
            <a:off x="5665917" y="1576526"/>
            <a:ext cx="453970" cy="29649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4859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57%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A866784-1804-716B-2058-649A8C2F473B}"/>
              </a:ext>
            </a:extLst>
          </p:cNvPr>
          <p:cNvSpPr txBox="1"/>
          <p:nvPr/>
        </p:nvSpPr>
        <p:spPr>
          <a:xfrm>
            <a:off x="6015853" y="1574171"/>
            <a:ext cx="453970" cy="29649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691195" rtl="0" eaLnBrk="1" fontAlgn="auto" latinLnBrk="0" hangingPunct="1">
              <a:lnSpc>
                <a:spcPts val="1663"/>
              </a:lnSpc>
              <a:spcBef>
                <a:spcPts val="0"/>
              </a:spcBef>
              <a:spcAft>
                <a:spcPts val="0"/>
              </a:spcAft>
              <a:buClr>
                <a:srgbClr val="7E1C4B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74859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61%</a:t>
            </a:r>
          </a:p>
        </p:txBody>
      </p:sp>
    </p:spTree>
    <p:extLst>
      <p:ext uri="{BB962C8B-B14F-4D97-AF65-F5344CB8AC3E}">
        <p14:creationId xmlns:p14="http://schemas.microsoft.com/office/powerpoint/2010/main" val="4135552675"/>
      </p:ext>
    </p:extLst>
  </p:cSld>
  <p:clrMapOvr>
    <a:masterClrMapping/>
  </p:clrMapOvr>
  <p:transition spd="slow"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Inhaltsplatzhalt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57510183"/>
              </p:ext>
            </p:extLst>
          </p:nvPr>
        </p:nvGraphicFramePr>
        <p:xfrm>
          <a:off x="431166" y="1493771"/>
          <a:ext cx="8352472" cy="3168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5586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altLang="de-DE" dirty="0"/>
              <a:t>Klimaschutzgesetz: Entwicklung und </a:t>
            </a:r>
            <a:r>
              <a:rPr lang="de-DE" altLang="de-DE" dirty="0" err="1"/>
              <a:t>Sektorziele</a:t>
            </a:r>
            <a:br>
              <a:rPr lang="de-DE" altLang="de-DE" dirty="0"/>
            </a:br>
            <a:r>
              <a:rPr lang="de-DE" altLang="de-DE" sz="1600" b="0" dirty="0"/>
              <a:t>Entwicklung in Mio. t CO</a:t>
            </a:r>
            <a:r>
              <a:rPr lang="de-DE" altLang="de-DE" sz="1600" b="0" baseline="-25000" dirty="0"/>
              <a:t>2</a:t>
            </a:r>
            <a:r>
              <a:rPr lang="de-DE" altLang="de-DE" sz="1600" b="0" dirty="0"/>
              <a:t> </a:t>
            </a:r>
            <a:r>
              <a:rPr lang="de-DE" altLang="de-DE" sz="1600" b="0" dirty="0" err="1"/>
              <a:t>eq</a:t>
            </a:r>
            <a:r>
              <a:rPr lang="de-DE" altLang="de-DE" sz="1600" b="0" dirty="0"/>
              <a:t>. und Minderung gegenüber 1990 in Prozent; ohne LULUCF***</a:t>
            </a:r>
          </a:p>
        </p:txBody>
      </p:sp>
      <p:sp>
        <p:nvSpPr>
          <p:cNvPr id="195595" name="Textfeld 37"/>
          <p:cNvSpPr txBox="1">
            <a:spLocks noChangeArrowheads="1"/>
          </p:cNvSpPr>
          <p:nvPr/>
        </p:nvSpPr>
        <p:spPr bwMode="auto">
          <a:xfrm>
            <a:off x="4566289" y="3837660"/>
            <a:ext cx="50045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7E1C4B"/>
              </a:buClr>
            </a:pPr>
            <a:r>
              <a:rPr lang="de-DE" altLang="de-DE" sz="1200" b="1" dirty="0">
                <a:solidFill>
                  <a:schemeClr val="bg2"/>
                </a:solidFill>
                <a:latin typeface="+mn-lt"/>
              </a:rPr>
              <a:t>-61%</a:t>
            </a:r>
          </a:p>
        </p:txBody>
      </p:sp>
      <p:sp>
        <p:nvSpPr>
          <p:cNvPr id="195596" name="Textfeld 44"/>
          <p:cNvSpPr txBox="1">
            <a:spLocks noChangeArrowheads="1"/>
          </p:cNvSpPr>
          <p:nvPr/>
        </p:nvSpPr>
        <p:spPr bwMode="auto">
          <a:xfrm>
            <a:off x="4561948" y="3506994"/>
            <a:ext cx="500458" cy="29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663"/>
              </a:lnSpc>
              <a:buClr>
                <a:srgbClr val="7E1C4B"/>
              </a:buClr>
            </a:pPr>
            <a:r>
              <a:rPr lang="de-DE" altLang="de-DE" sz="1200" b="1" dirty="0">
                <a:solidFill>
                  <a:srgbClr val="748592"/>
                </a:solidFill>
                <a:latin typeface="+mn-lt"/>
              </a:rPr>
              <a:t>-45%</a:t>
            </a:r>
          </a:p>
        </p:txBody>
      </p:sp>
      <p:sp>
        <p:nvSpPr>
          <p:cNvPr id="195597" name="Textfeld 45"/>
          <p:cNvSpPr txBox="1">
            <a:spLocks noChangeArrowheads="1"/>
          </p:cNvSpPr>
          <p:nvPr/>
        </p:nvSpPr>
        <p:spPr bwMode="auto">
          <a:xfrm>
            <a:off x="4556868" y="3303654"/>
            <a:ext cx="500458" cy="29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663"/>
              </a:lnSpc>
              <a:buClr>
                <a:srgbClr val="7E1C4B"/>
              </a:buClr>
            </a:pPr>
            <a:r>
              <a:rPr lang="de-DE" altLang="de-DE" sz="1200" b="1" dirty="0">
                <a:solidFill>
                  <a:srgbClr val="6C99C9"/>
                </a:solidFill>
                <a:latin typeface="+mn-lt"/>
              </a:rPr>
              <a:t>-52%</a:t>
            </a:r>
          </a:p>
        </p:txBody>
      </p:sp>
      <p:sp>
        <p:nvSpPr>
          <p:cNvPr id="195598" name="Textfeld 46"/>
          <p:cNvSpPr txBox="1">
            <a:spLocks noChangeArrowheads="1"/>
          </p:cNvSpPr>
          <p:nvPr/>
        </p:nvSpPr>
        <p:spPr bwMode="auto">
          <a:xfrm>
            <a:off x="4556868" y="3083721"/>
            <a:ext cx="500458" cy="29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663"/>
              </a:lnSpc>
              <a:buClr>
                <a:srgbClr val="7E1C4B"/>
              </a:buClr>
            </a:pPr>
            <a:r>
              <a:rPr lang="de-DE" altLang="de-DE" sz="1200" b="1" dirty="0">
                <a:solidFill>
                  <a:schemeClr val="accent2"/>
                </a:solidFill>
                <a:latin typeface="+mn-lt"/>
              </a:rPr>
              <a:t>-12%</a:t>
            </a:r>
          </a:p>
        </p:txBody>
      </p:sp>
      <p:sp>
        <p:nvSpPr>
          <p:cNvPr id="195599" name="Textfeld 47"/>
          <p:cNvSpPr txBox="1">
            <a:spLocks noChangeArrowheads="1"/>
          </p:cNvSpPr>
          <p:nvPr/>
        </p:nvSpPr>
        <p:spPr bwMode="auto">
          <a:xfrm>
            <a:off x="4556557" y="2934285"/>
            <a:ext cx="500458" cy="29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663"/>
              </a:lnSpc>
              <a:buClr>
                <a:srgbClr val="7E1C4B"/>
              </a:buClr>
            </a:pPr>
            <a:r>
              <a:rPr lang="de-DE" altLang="de-DE" sz="1200" b="1" dirty="0">
                <a:solidFill>
                  <a:schemeClr val="accent5"/>
                </a:solidFill>
                <a:latin typeface="+mn-lt"/>
              </a:rPr>
              <a:t>-27%</a:t>
            </a:r>
          </a:p>
        </p:txBody>
      </p:sp>
      <p:sp>
        <p:nvSpPr>
          <p:cNvPr id="195600" name="Textfeld 48"/>
          <p:cNvSpPr txBox="1">
            <a:spLocks noChangeArrowheads="1"/>
          </p:cNvSpPr>
          <p:nvPr/>
        </p:nvSpPr>
        <p:spPr bwMode="auto">
          <a:xfrm>
            <a:off x="4556274" y="2825519"/>
            <a:ext cx="500458" cy="29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663"/>
              </a:lnSpc>
              <a:buClr>
                <a:srgbClr val="7E1C4B"/>
              </a:buClr>
            </a:pPr>
            <a:r>
              <a:rPr lang="de-DE" altLang="de-DE" sz="1200" b="1" dirty="0">
                <a:solidFill>
                  <a:srgbClr val="576874"/>
                </a:solidFill>
                <a:latin typeface="+mn-lt"/>
              </a:rPr>
              <a:t>-87%</a:t>
            </a:r>
          </a:p>
        </p:txBody>
      </p:sp>
      <p:sp>
        <p:nvSpPr>
          <p:cNvPr id="195602" name="Textfeld 50"/>
          <p:cNvSpPr txBox="1">
            <a:spLocks noChangeArrowheads="1"/>
          </p:cNvSpPr>
          <p:nvPr/>
        </p:nvSpPr>
        <p:spPr bwMode="auto">
          <a:xfrm>
            <a:off x="5322747" y="3907549"/>
            <a:ext cx="50045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buClr>
                <a:srgbClr val="7E1C4B"/>
              </a:buClr>
            </a:pPr>
            <a:r>
              <a:rPr lang="de-DE" altLang="de-DE" sz="1200" b="1" dirty="0">
                <a:solidFill>
                  <a:schemeClr val="bg2"/>
                </a:solidFill>
                <a:latin typeface="+mn-lt"/>
              </a:rPr>
              <a:t>-77%</a:t>
            </a:r>
          </a:p>
        </p:txBody>
      </p:sp>
      <p:sp>
        <p:nvSpPr>
          <p:cNvPr id="195603" name="Textfeld 51"/>
          <p:cNvSpPr txBox="1">
            <a:spLocks noChangeArrowheads="1"/>
          </p:cNvSpPr>
          <p:nvPr/>
        </p:nvSpPr>
        <p:spPr bwMode="auto">
          <a:xfrm>
            <a:off x="5320164" y="3689400"/>
            <a:ext cx="500458" cy="29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ts val="1663"/>
              </a:lnSpc>
              <a:buClr>
                <a:srgbClr val="7E1C4B"/>
              </a:buClr>
            </a:pPr>
            <a:r>
              <a:rPr lang="de-DE" altLang="de-DE" sz="1200" b="1">
                <a:solidFill>
                  <a:srgbClr val="748592"/>
                </a:solidFill>
                <a:latin typeface="+mn-lt"/>
              </a:rPr>
              <a:t>-58%</a:t>
            </a:r>
            <a:endParaRPr lang="de-DE" altLang="de-DE" sz="1200" b="1" dirty="0">
              <a:solidFill>
                <a:srgbClr val="748592"/>
              </a:solidFill>
              <a:latin typeface="+mn-lt"/>
            </a:endParaRPr>
          </a:p>
        </p:txBody>
      </p:sp>
      <p:sp>
        <p:nvSpPr>
          <p:cNvPr id="195604" name="Textfeld 52"/>
          <p:cNvSpPr txBox="1">
            <a:spLocks noChangeArrowheads="1"/>
          </p:cNvSpPr>
          <p:nvPr/>
        </p:nvSpPr>
        <p:spPr bwMode="auto">
          <a:xfrm>
            <a:off x="5317695" y="3519068"/>
            <a:ext cx="500458" cy="29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ts val="1663"/>
              </a:lnSpc>
              <a:buClr>
                <a:srgbClr val="7E1C4B"/>
              </a:buClr>
            </a:pPr>
            <a:r>
              <a:rPr lang="de-DE" altLang="de-DE" sz="1200" b="1">
                <a:solidFill>
                  <a:srgbClr val="6C99C9"/>
                </a:solidFill>
                <a:latin typeface="+mn-lt"/>
              </a:rPr>
              <a:t>-68%</a:t>
            </a:r>
            <a:endParaRPr lang="de-DE" altLang="de-DE" sz="1200" b="1" dirty="0">
              <a:solidFill>
                <a:srgbClr val="6C99C9"/>
              </a:solidFill>
              <a:latin typeface="+mn-lt"/>
            </a:endParaRPr>
          </a:p>
        </p:txBody>
      </p:sp>
      <p:sp>
        <p:nvSpPr>
          <p:cNvPr id="195605" name="Textfeld 53"/>
          <p:cNvSpPr txBox="1">
            <a:spLocks noChangeArrowheads="1"/>
          </p:cNvSpPr>
          <p:nvPr/>
        </p:nvSpPr>
        <p:spPr bwMode="auto">
          <a:xfrm>
            <a:off x="5317695" y="3386100"/>
            <a:ext cx="500458" cy="29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ts val="1663"/>
              </a:lnSpc>
              <a:buClr>
                <a:srgbClr val="7E1C4B"/>
              </a:buClr>
            </a:pPr>
            <a:r>
              <a:rPr lang="de-DE" altLang="de-DE" sz="1200" b="1">
                <a:solidFill>
                  <a:schemeClr val="accent2"/>
                </a:solidFill>
                <a:latin typeface="+mn-lt"/>
              </a:rPr>
              <a:t>-48%</a:t>
            </a:r>
            <a:endParaRPr lang="de-DE" altLang="de-DE" sz="12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95606" name="Textfeld 54"/>
          <p:cNvSpPr txBox="1">
            <a:spLocks noChangeArrowheads="1"/>
          </p:cNvSpPr>
          <p:nvPr/>
        </p:nvSpPr>
        <p:spPr bwMode="auto">
          <a:xfrm>
            <a:off x="5312643" y="3262460"/>
            <a:ext cx="500458" cy="29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ts val="1663"/>
              </a:lnSpc>
              <a:buClr>
                <a:srgbClr val="7E1C4B"/>
              </a:buClr>
            </a:pPr>
            <a:r>
              <a:rPr lang="de-DE" altLang="de-DE" sz="1200" b="1">
                <a:solidFill>
                  <a:schemeClr val="accent5"/>
                </a:solidFill>
                <a:latin typeface="+mn-lt"/>
              </a:rPr>
              <a:t>-33%</a:t>
            </a:r>
            <a:endParaRPr lang="de-DE" altLang="de-DE" sz="1200" b="1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95607" name="Textfeld 55"/>
          <p:cNvSpPr txBox="1">
            <a:spLocks noChangeArrowheads="1"/>
          </p:cNvSpPr>
          <p:nvPr/>
        </p:nvSpPr>
        <p:spPr bwMode="auto">
          <a:xfrm>
            <a:off x="5305008" y="3151273"/>
            <a:ext cx="500458" cy="29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ts val="1663"/>
              </a:lnSpc>
              <a:buClr>
                <a:srgbClr val="7E1C4B"/>
              </a:buClr>
            </a:pPr>
            <a:r>
              <a:rPr lang="de-DE" altLang="de-DE" sz="1200" b="1">
                <a:solidFill>
                  <a:srgbClr val="576874"/>
                </a:solidFill>
                <a:latin typeface="+mn-lt"/>
              </a:rPr>
              <a:t>-90%</a:t>
            </a:r>
            <a:endParaRPr lang="de-DE" altLang="de-DE" sz="1200" b="1" dirty="0">
              <a:solidFill>
                <a:srgbClr val="576874"/>
              </a:solidFill>
              <a:latin typeface="+mn-lt"/>
            </a:endParaRPr>
          </a:p>
        </p:txBody>
      </p:sp>
      <p:sp>
        <p:nvSpPr>
          <p:cNvPr id="29" name="Textfeld 35"/>
          <p:cNvSpPr txBox="1">
            <a:spLocks noChangeArrowheads="1"/>
          </p:cNvSpPr>
          <p:nvPr/>
        </p:nvSpPr>
        <p:spPr bwMode="auto">
          <a:xfrm>
            <a:off x="4558418" y="2644477"/>
            <a:ext cx="553357" cy="3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663"/>
              </a:lnSpc>
              <a:buClr>
                <a:srgbClr val="7E1C4B"/>
              </a:buClr>
            </a:pPr>
            <a:r>
              <a:rPr lang="de-DE" altLang="de-DE" sz="1400" b="1" dirty="0">
                <a:latin typeface="+mn-lt"/>
              </a:rPr>
              <a:t>-48%</a:t>
            </a:r>
          </a:p>
        </p:txBody>
      </p:sp>
      <p:sp>
        <p:nvSpPr>
          <p:cNvPr id="31" name="Textfeld 55">
            <a:extLst>
              <a:ext uri="{FF2B5EF4-FFF2-40B4-BE49-F238E27FC236}">
                <a16:creationId xmlns:a16="http://schemas.microsoft.com/office/drawing/2014/main" id="{42A7D659-E29C-4A2F-A29B-52E9CF2451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02539" y="2998155"/>
            <a:ext cx="500458" cy="29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ts val="1663"/>
              </a:lnSpc>
              <a:buClr>
                <a:srgbClr val="7E1C4B"/>
              </a:buClr>
            </a:pPr>
            <a:r>
              <a:rPr lang="de-DE" altLang="de-DE" sz="1200" b="1" dirty="0">
                <a:latin typeface="+mn-lt"/>
              </a:rPr>
              <a:t>-65%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E4A2865-48EB-4DE9-A9A1-2E1C115D43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12.2025</a:t>
            </a:r>
            <a:endParaRPr lang="de-DE" dirty="0"/>
          </a:p>
        </p:txBody>
      </p:sp>
      <p:sp>
        <p:nvSpPr>
          <p:cNvPr id="34" name="Textfeld 55">
            <a:extLst>
              <a:ext uri="{FF2B5EF4-FFF2-40B4-BE49-F238E27FC236}">
                <a16:creationId xmlns:a16="http://schemas.microsoft.com/office/drawing/2014/main" id="{A378A776-0159-4662-871C-D634AD3E33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90527" y="3832756"/>
            <a:ext cx="500457" cy="29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ts val="1663"/>
              </a:lnSpc>
              <a:buClr>
                <a:srgbClr val="7E1C4B"/>
              </a:buClr>
            </a:pPr>
            <a:r>
              <a:rPr lang="de-DE" altLang="de-DE" sz="1200" b="1" dirty="0">
                <a:latin typeface="+mn-lt"/>
              </a:rPr>
              <a:t>-88%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C4B08E5-149F-48BB-99A4-4856E6D16694}"/>
              </a:ext>
            </a:extLst>
          </p:cNvPr>
          <p:cNvSpPr txBox="1"/>
          <p:nvPr/>
        </p:nvSpPr>
        <p:spPr>
          <a:xfrm>
            <a:off x="8039392" y="3940228"/>
            <a:ext cx="744791" cy="369332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</a:pPr>
            <a:r>
              <a:rPr lang="de-DE" sz="1200" b="1"/>
              <a:t>Klima-</a:t>
            </a:r>
            <a:br>
              <a:rPr lang="de-DE" sz="1200" b="1"/>
            </a:br>
            <a:r>
              <a:rPr lang="de-DE" sz="1200" b="1"/>
              <a:t>neutralität</a:t>
            </a:r>
            <a:endParaRPr lang="de-DE" sz="1200" b="1" dirty="0" err="1"/>
          </a:p>
        </p:txBody>
      </p:sp>
      <p:sp>
        <p:nvSpPr>
          <p:cNvPr id="37" name="Textfeld 55">
            <a:extLst>
              <a:ext uri="{FF2B5EF4-FFF2-40B4-BE49-F238E27FC236}">
                <a16:creationId xmlns:a16="http://schemas.microsoft.com/office/drawing/2014/main" id="{C08B579C-9C04-47E7-BBC2-3869424A60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41357" y="3700360"/>
            <a:ext cx="500458" cy="29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ts val="1663"/>
              </a:lnSpc>
              <a:buClr>
                <a:srgbClr val="7E1C4B"/>
              </a:buClr>
            </a:pPr>
            <a:r>
              <a:rPr lang="de-DE" altLang="de-DE" sz="1200" b="1" dirty="0">
                <a:latin typeface="+mn-lt"/>
              </a:rPr>
              <a:t>-77%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ACDCE80-8347-421D-AF71-B23316FB370B}"/>
              </a:ext>
            </a:extLst>
          </p:cNvPr>
          <p:cNvSpPr txBox="1"/>
          <p:nvPr/>
        </p:nvSpPr>
        <p:spPr>
          <a:xfrm>
            <a:off x="8266519" y="4341125"/>
            <a:ext cx="314189" cy="18466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</a:pPr>
            <a:r>
              <a:rPr lang="de-DE" sz="1200" b="1"/>
              <a:t>2045</a:t>
            </a:r>
            <a:endParaRPr lang="de-DE" sz="1200" b="1" dirty="0" err="1"/>
          </a:p>
        </p:txBody>
      </p:sp>
      <p:sp>
        <p:nvSpPr>
          <p:cNvPr id="35" name="Textfeld 37">
            <a:extLst>
              <a:ext uri="{FF2B5EF4-FFF2-40B4-BE49-F238E27FC236}">
                <a16:creationId xmlns:a16="http://schemas.microsoft.com/office/drawing/2014/main" id="{C4BB5F89-4BDE-4B34-9D8C-DFF8F89A54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6512" y="3545856"/>
            <a:ext cx="1399294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7E1C4B"/>
              </a:buClr>
            </a:pPr>
            <a:r>
              <a:rPr lang="de-DE" altLang="de-DE" sz="1300" b="1">
                <a:solidFill>
                  <a:schemeClr val="bg2"/>
                </a:solidFill>
                <a:latin typeface="+mn-lt"/>
              </a:rPr>
              <a:t>Energiewirtschaft</a:t>
            </a:r>
            <a:endParaRPr lang="de-DE" altLang="de-DE" sz="1300" b="1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" name="Textfeld 44">
            <a:extLst>
              <a:ext uri="{FF2B5EF4-FFF2-40B4-BE49-F238E27FC236}">
                <a16:creationId xmlns:a16="http://schemas.microsoft.com/office/drawing/2014/main" id="{6D1B90B1-BDCE-4EAF-8D19-42136504A1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0669" y="2852218"/>
            <a:ext cx="804772" cy="299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663"/>
              </a:lnSpc>
              <a:buClr>
                <a:srgbClr val="7E1C4B"/>
              </a:buClr>
            </a:pPr>
            <a:r>
              <a:rPr lang="de-DE" altLang="de-DE" sz="1300" b="1">
                <a:solidFill>
                  <a:srgbClr val="748592"/>
                </a:solidFill>
                <a:latin typeface="+mn-lt"/>
              </a:rPr>
              <a:t>Industrie</a:t>
            </a:r>
            <a:endParaRPr lang="de-DE" altLang="de-DE" sz="1300" b="1" dirty="0">
              <a:solidFill>
                <a:srgbClr val="748592"/>
              </a:solidFill>
              <a:latin typeface="+mn-lt"/>
            </a:endParaRPr>
          </a:p>
        </p:txBody>
      </p:sp>
      <p:sp>
        <p:nvSpPr>
          <p:cNvPr id="38" name="Textfeld 45">
            <a:extLst>
              <a:ext uri="{FF2B5EF4-FFF2-40B4-BE49-F238E27FC236}">
                <a16:creationId xmlns:a16="http://schemas.microsoft.com/office/drawing/2014/main" id="{9EAFEA89-8E97-4575-82CF-5C235286E9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4257" y="2457645"/>
            <a:ext cx="808235" cy="299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663"/>
              </a:lnSpc>
              <a:buClr>
                <a:srgbClr val="7E1C4B"/>
              </a:buClr>
            </a:pPr>
            <a:r>
              <a:rPr lang="de-DE" altLang="de-DE" sz="1300" b="1">
                <a:solidFill>
                  <a:srgbClr val="002060"/>
                </a:solidFill>
                <a:latin typeface="+mn-lt"/>
              </a:rPr>
              <a:t>Gebäude</a:t>
            </a:r>
            <a:endParaRPr lang="de-DE" altLang="de-DE" sz="13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9" name="Textfeld 46">
            <a:extLst>
              <a:ext uri="{FF2B5EF4-FFF2-40B4-BE49-F238E27FC236}">
                <a16:creationId xmlns:a16="http://schemas.microsoft.com/office/drawing/2014/main" id="{4AB6BF0E-BEA0-4F41-B69C-2B7D38557B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0792" y="2124643"/>
            <a:ext cx="724622" cy="299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663"/>
              </a:lnSpc>
              <a:buClr>
                <a:srgbClr val="7E1C4B"/>
              </a:buClr>
            </a:pPr>
            <a:r>
              <a:rPr lang="de-DE" altLang="de-DE" sz="1300" b="1">
                <a:solidFill>
                  <a:schemeClr val="accent2"/>
                </a:solidFill>
                <a:latin typeface="+mn-lt"/>
              </a:rPr>
              <a:t>Verkehr</a:t>
            </a:r>
            <a:endParaRPr lang="de-DE" altLang="de-DE" sz="13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0" name="Textfeld 47">
            <a:extLst>
              <a:ext uri="{FF2B5EF4-FFF2-40B4-BE49-F238E27FC236}">
                <a16:creationId xmlns:a16="http://schemas.microsoft.com/office/drawing/2014/main" id="{BCA9608B-20DC-41FB-85EB-BE5B89C064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6940" y="1923609"/>
            <a:ext cx="1216102" cy="299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663"/>
              </a:lnSpc>
              <a:buClr>
                <a:srgbClr val="7E1C4B"/>
              </a:buClr>
            </a:pPr>
            <a:r>
              <a:rPr lang="de-DE" altLang="de-DE" sz="1300" b="1">
                <a:solidFill>
                  <a:schemeClr val="accent5"/>
                </a:solidFill>
                <a:latin typeface="+mn-lt"/>
              </a:rPr>
              <a:t>Landwirtschaft</a:t>
            </a:r>
            <a:endParaRPr lang="de-DE" altLang="de-DE" sz="1300" b="1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41" name="Textfeld 48">
            <a:extLst>
              <a:ext uri="{FF2B5EF4-FFF2-40B4-BE49-F238E27FC236}">
                <a16:creationId xmlns:a16="http://schemas.microsoft.com/office/drawing/2014/main" id="{041B3DC6-9713-499F-A9C7-1AE411834C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0669" y="1764603"/>
            <a:ext cx="766107" cy="299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663"/>
              </a:lnSpc>
              <a:buClr>
                <a:srgbClr val="7E1C4B"/>
              </a:buClr>
            </a:pPr>
            <a:r>
              <a:rPr lang="de-DE" altLang="de-DE" sz="1300" b="1">
                <a:solidFill>
                  <a:srgbClr val="576874"/>
                </a:solidFill>
                <a:latin typeface="+mn-lt"/>
              </a:rPr>
              <a:t>Sonstige</a:t>
            </a:r>
            <a:endParaRPr lang="de-DE" altLang="de-DE" sz="1300" b="1" dirty="0">
              <a:solidFill>
                <a:srgbClr val="576874"/>
              </a:solidFill>
              <a:latin typeface="+mn-lt"/>
            </a:endParaRPr>
          </a:p>
        </p:txBody>
      </p:sp>
      <p:sp>
        <p:nvSpPr>
          <p:cNvPr id="42" name="Textfeld 35">
            <a:extLst>
              <a:ext uri="{FF2B5EF4-FFF2-40B4-BE49-F238E27FC236}">
                <a16:creationId xmlns:a16="http://schemas.microsoft.com/office/drawing/2014/main" id="{F906B3B3-DF14-4C3A-AC7E-7195AA25C5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0797" y="1548579"/>
            <a:ext cx="713722" cy="299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1663"/>
              </a:lnSpc>
              <a:buClr>
                <a:srgbClr val="7E1C4B"/>
              </a:buClr>
            </a:pPr>
            <a:r>
              <a:rPr lang="de-DE" altLang="de-DE" sz="1300" b="1">
                <a:latin typeface="+mn-lt"/>
              </a:rPr>
              <a:t>Gesamt</a:t>
            </a:r>
            <a:endParaRPr lang="de-DE" altLang="de-DE" sz="1300" b="1" dirty="0">
              <a:latin typeface="+mn-lt"/>
            </a:endParaRPr>
          </a:p>
        </p:txBody>
      </p:sp>
      <p:sp>
        <p:nvSpPr>
          <p:cNvPr id="43" name="Textfeld 3">
            <a:extLst>
              <a:ext uri="{FF2B5EF4-FFF2-40B4-BE49-F238E27FC236}">
                <a16:creationId xmlns:a16="http://schemas.microsoft.com/office/drawing/2014/main" id="{551BA4B1-F552-400C-97E6-5A01AEAB03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1165" y="4860743"/>
            <a:ext cx="335668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/>
            </a:lvl1pPr>
          </a:lstStyle>
          <a:p>
            <a:r>
              <a:rPr lang="de-DE" altLang="de-DE" dirty="0"/>
              <a:t>Quellen: BDEW, UBA, Bundes-Klimaschutzgesetz;</a:t>
            </a: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Stand 03/2025</a:t>
            </a:r>
            <a:endParaRPr lang="de-DE" altLang="de-DE" dirty="0"/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D014223C-854B-4B1A-8B43-3BE269DD42CB}"/>
              </a:ext>
            </a:extLst>
          </p:cNvPr>
          <p:cNvSpPr txBox="1"/>
          <p:nvPr/>
        </p:nvSpPr>
        <p:spPr>
          <a:xfrm>
            <a:off x="5687839" y="4702564"/>
            <a:ext cx="322844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/>
            </a:lvl1pPr>
          </a:lstStyle>
          <a:p>
            <a:r>
              <a:rPr lang="de-DE" dirty="0"/>
              <a:t>* vorläufig ** gemäß Bundes-Klimaschutzgesetz</a:t>
            </a:r>
            <a:br>
              <a:rPr lang="de-DE" dirty="0"/>
            </a:br>
            <a:r>
              <a:rPr lang="de-DE" dirty="0"/>
              <a:t>*** Landnutzung, Landnutzungsänderung und Forstwirtschaft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F3126E2-A4B9-FBF4-7F1B-800F7B90C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117110"/>
      </p:ext>
    </p:extLst>
  </p:cSld>
  <p:clrMapOvr>
    <a:masterClrMapping/>
  </p:clrMapOvr>
  <p:transition spd="slow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4A912DA-3DD8-441A-9DBE-D405C2A4809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561B65F-CF98-4BC9-B1C9-876F3E4DEF0A}"/>
              </a:ext>
            </a:extLst>
          </p:cNvPr>
          <p:cNvSpPr/>
          <p:nvPr/>
        </p:nvSpPr>
        <p:spPr>
          <a:xfrm>
            <a:off x="359247" y="615211"/>
            <a:ext cx="4606925" cy="407124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61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sprechpartner: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rtschaftsdaten: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rcel Westphal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elefon: +49 30 300199-1616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rcel.westphal@bdew.de	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6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rzeugungs- und Verbrauchsdaten: 		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lorentine Schenke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elefon: +49 30 300199-1613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lorentine.schenke@bdew.de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6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ergiepreise und Stromerzeugung aus Erneuerbaren: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rlotta Irrgang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elefon: +49 30 300199-1617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rlotta.irrgang@bdew.de	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6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ür die Aufnahme in den </a:t>
            </a:r>
            <a:r>
              <a:rPr kumimoji="0" lang="de-DE" sz="1361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-Mail-Verteiler</a:t>
            </a:r>
            <a: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„Energiewirtschaftliche Entwicklung in Deutschland“ </a:t>
            </a:r>
            <a:b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</a:br>
            <a: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nden Sie eine formlose E-Mail an </a:t>
            </a:r>
            <a:r>
              <a:rPr kumimoji="0" lang="de-DE" sz="136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hlinkClick r:id="rId2"/>
              </a:rPr>
              <a:t>economics@bdew.de</a:t>
            </a:r>
            <a:endParaRPr kumimoji="0" lang="de-DE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AC72EF-7101-9769-8337-66880955489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Quartalsbericht III/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318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mperatur</a:t>
            </a:r>
          </a:p>
        </p:txBody>
      </p:sp>
      <p:graphicFrame>
        <p:nvGraphicFramePr>
          <p:cNvPr id="2" name="Object 3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30433308"/>
              </p:ext>
            </p:extLst>
          </p:nvPr>
        </p:nvGraphicFramePr>
        <p:xfrm>
          <a:off x="438888" y="1792791"/>
          <a:ext cx="8351838" cy="3168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625902A3-7691-4594-9D5B-49627C5612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0970C42-553B-4178-8E63-72ADE4A282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5128" name="Rectangle 2"/>
          <p:cNvSpPr>
            <a:spLocks noChangeArrowheads="1"/>
          </p:cNvSpPr>
          <p:nvPr/>
        </p:nvSpPr>
        <p:spPr bwMode="gray">
          <a:xfrm>
            <a:off x="1340831" y="154824"/>
            <a:ext cx="5444014" cy="58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51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1F491E78-A678-4DC3-BF6B-05F9D6A93865}"/>
              </a:ext>
            </a:extLst>
          </p:cNvPr>
          <p:cNvSpPr txBox="1">
            <a:spLocks/>
          </p:cNvSpPr>
          <p:nvPr/>
        </p:nvSpPr>
        <p:spPr>
          <a:xfrm>
            <a:off x="431800" y="1224235"/>
            <a:ext cx="8351838" cy="4431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9115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rgbClr val="C20000"/>
              </a:buClr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s Verbrauchsindikator gewichtet mit der Einwohnerzahl pro Bundesland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um 31.12.2024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– Auswertung von 41 Wetterstationen des DWD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DD8EB35-A4B1-475D-A225-0719B76DCD5A}"/>
              </a:ext>
            </a:extLst>
          </p:cNvPr>
          <p:cNvSpPr txBox="1"/>
          <p:nvPr/>
        </p:nvSpPr>
        <p:spPr>
          <a:xfrm>
            <a:off x="431255" y="4860993"/>
            <a:ext cx="173284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0"/>
            </a:lvl1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DWD; eigene Berechnu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14946226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adtagzahl</a:t>
            </a:r>
          </a:p>
        </p:txBody>
      </p:sp>
      <p:graphicFrame>
        <p:nvGraphicFramePr>
          <p:cNvPr id="10" name="Object 2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84834305"/>
              </p:ext>
            </p:extLst>
          </p:nvPr>
        </p:nvGraphicFramePr>
        <p:xfrm>
          <a:off x="431800" y="1800225"/>
          <a:ext cx="8351838" cy="3168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31B79BA-2558-437F-9121-4B471523F4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90DA1F2-1C28-4872-A172-D44ABF46D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4" name="Text Box 6"/>
          <p:cNvSpPr txBox="1">
            <a:spLocks noChangeArrowheads="1"/>
          </p:cNvSpPr>
          <p:nvPr/>
        </p:nvSpPr>
        <p:spPr bwMode="auto">
          <a:xfrm>
            <a:off x="7416031" y="1871863"/>
            <a:ext cx="1368152" cy="1015663"/>
          </a:xfrm>
          <a:prstGeom prst="rect">
            <a:avLst/>
          </a:prstGeom>
          <a:noFill/>
          <a:ln w="19050" algn="ctr">
            <a:solidFill>
              <a:srgbClr val="666666"/>
            </a:solidFill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l" defTabSz="6912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166813" algn="r"/>
              </a:tabLst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. bis 3. Quartal: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6912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166813" algn="r"/>
              </a:tabLst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angj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Mittel 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05-2024: 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	2 177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6912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166813" algn="r"/>
              </a:tabLst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4: 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	</a:t>
            </a:r>
            <a:r>
              <a:rPr lang="de-DE" sz="12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827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6912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166813" algn="r"/>
              </a:tabLst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5: 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	</a:t>
            </a:r>
            <a:r>
              <a:rPr lang="de-DE" sz="12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043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85256713-8420-4FD2-9379-226B0B42541F}"/>
              </a:ext>
            </a:extLst>
          </p:cNvPr>
          <p:cNvSpPr txBox="1">
            <a:spLocks/>
          </p:cNvSpPr>
          <p:nvPr/>
        </p:nvSpPr>
        <p:spPr>
          <a:xfrm>
            <a:off x="431800" y="1224235"/>
            <a:ext cx="8351838" cy="4431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9115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rgbClr val="C20000"/>
              </a:buClr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s Verbrauchsindikator gewichtet mit der Einwohnerzahl pro Bundesland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um 31.12.2024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C2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– Auswertung von 43 Wetterstationen des DWD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212DC0F-44FD-48E6-8528-540D9A7CD509}"/>
              </a:ext>
            </a:extLst>
          </p:cNvPr>
          <p:cNvSpPr txBox="1"/>
          <p:nvPr/>
        </p:nvSpPr>
        <p:spPr>
          <a:xfrm>
            <a:off x="431255" y="4860993"/>
            <a:ext cx="240931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0"/>
            </a:lvl1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n: DWD, Destatis; eigene Berechnungen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C2979944-820C-4BC9-8365-FC65D51D05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7011" y="4860993"/>
            <a:ext cx="135774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 nach VDI-Richtlinie 2067</a:t>
            </a:r>
          </a:p>
        </p:txBody>
      </p:sp>
    </p:spTree>
    <p:extLst>
      <p:ext uri="{BB962C8B-B14F-4D97-AF65-F5344CB8AC3E}">
        <p14:creationId xmlns:p14="http://schemas.microsoft.com/office/powerpoint/2010/main" val="1610668656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4">
            <a:extLst>
              <a:ext uri="{FF2B5EF4-FFF2-40B4-BE49-F238E27FC236}">
                <a16:creationId xmlns:a16="http://schemas.microsoft.com/office/drawing/2014/main" id="{9EEC69A4-4E86-4AC0-8FFC-1E09E9077B0D}"/>
              </a:ext>
            </a:extLst>
          </p:cNvPr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72544009"/>
              </p:ext>
            </p:extLst>
          </p:nvPr>
        </p:nvGraphicFramePr>
        <p:xfrm>
          <a:off x="408750" y="1224235"/>
          <a:ext cx="8374888" cy="3888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4E634A5-048B-40B8-B885-9ABBDB0A9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dirty="0"/>
              <a:t>Monatlicher Erdgasverbrauch in Deutschland</a:t>
            </a:r>
          </a:p>
        </p:txBody>
      </p:sp>
      <p:sp>
        <p:nvSpPr>
          <p:cNvPr id="9" name="Text Box 7">
            <a:extLst>
              <a:ext uri="{FF2B5EF4-FFF2-40B4-BE49-F238E27FC236}">
                <a16:creationId xmlns:a16="http://schemas.microsoft.com/office/drawing/2014/main" id="{74B99C38-6FA4-4ECD-86ED-ACB15F277C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86425" y="4860993"/>
            <a:ext cx="54822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182563" marR="0" lvl="0" indent="-182563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82563" algn="l"/>
              </a:tabLst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 vorläufi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81C1862-6122-41EE-9CCC-555618E6580F}"/>
              </a:ext>
            </a:extLst>
          </p:cNvPr>
          <p:cNvSpPr txBox="1"/>
          <p:nvPr/>
        </p:nvSpPr>
        <p:spPr>
          <a:xfrm>
            <a:off x="431255" y="4860993"/>
            <a:ext cx="155972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BDEW, 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and 11</a:t>
            </a:r>
            <a:r>
              <a:rPr lang="de-DE" sz="1000">
                <a:solidFill>
                  <a:srgbClr val="000000"/>
                </a:solidFill>
                <a:latin typeface="Calibri"/>
                <a:cs typeface="Calibri"/>
              </a:rPr>
              <a:t>/2025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1" name="Textfeld 1">
            <a:extLst>
              <a:ext uri="{FF2B5EF4-FFF2-40B4-BE49-F238E27FC236}">
                <a16:creationId xmlns:a16="http://schemas.microsoft.com/office/drawing/2014/main" id="{4E470768-8377-46DE-ABB1-6080F34B9068}"/>
              </a:ext>
            </a:extLst>
          </p:cNvPr>
          <p:cNvSpPr txBox="1"/>
          <p:nvPr/>
        </p:nvSpPr>
        <p:spPr>
          <a:xfrm>
            <a:off x="7249713" y="3759383"/>
            <a:ext cx="16359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zentangaben: Veränderung zum Vorjahresmonat</a:t>
            </a:r>
            <a:endParaRPr kumimoji="0" lang="de-DE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13277BF-81E5-49EE-A37B-FA5DD45CBF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703C35D-1305-43D8-B4F7-A09C5C3BB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</a:p>
        </p:txBody>
      </p:sp>
      <p:sp>
        <p:nvSpPr>
          <p:cNvPr id="5" name="Text Box 45">
            <a:extLst>
              <a:ext uri="{FF2B5EF4-FFF2-40B4-BE49-F238E27FC236}">
                <a16:creationId xmlns:a16="http://schemas.microsoft.com/office/drawing/2014/main" id="{145B853E-7293-F077-048C-B6C5F32F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44023" y="891936"/>
            <a:ext cx="1616171" cy="1461939"/>
          </a:xfrm>
          <a:prstGeom prst="rect">
            <a:avLst/>
          </a:prstGeom>
          <a:noFill/>
          <a:ln w="19050" algn="ctr">
            <a:solidFill>
              <a:srgbClr val="576874"/>
            </a:solidFill>
            <a:miter lim="800000"/>
            <a:headEnd/>
            <a:tailEnd/>
          </a:ln>
          <a:effectLst/>
        </p:spPr>
        <p:txBody>
          <a:bodyPr wrap="square" anchor="b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defTabSz="691286" fontAlgn="base">
              <a:spcBef>
                <a:spcPct val="0"/>
              </a:spcBef>
              <a:spcAft>
                <a:spcPct val="0"/>
              </a:spcAft>
              <a:tabLst>
                <a:tab pos="1166813" algn="r"/>
              </a:tabLst>
              <a:defRPr/>
            </a:pPr>
            <a:r>
              <a:rPr lang="de-DE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bis 3. Quartal: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43025" algn="r"/>
                <a:tab pos="2439988" algn="r"/>
              </a:tabLst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3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: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	</a:t>
            </a:r>
            <a:r>
              <a:rPr lang="de-DE">
                <a:solidFill>
                  <a:srgbClr val="000000"/>
                </a:solidFill>
                <a:latin typeface="Calibri"/>
                <a:cs typeface="Calibri"/>
              </a:rPr>
              <a:t>560 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rd. kWh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43025" algn="r"/>
                <a:tab pos="2439988" algn="r"/>
              </a:tabLst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4*: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	</a:t>
            </a:r>
            <a:r>
              <a:rPr lang="de-DE">
                <a:solidFill>
                  <a:srgbClr val="000000"/>
                </a:solidFill>
                <a:latin typeface="Calibri"/>
                <a:cs typeface="Calibri"/>
              </a:rPr>
              <a:t>574 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rd. kWh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43025" algn="r"/>
                <a:tab pos="2439988" algn="r"/>
              </a:tabLst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5*: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	</a:t>
            </a:r>
            <a:r>
              <a:rPr lang="de-DE">
                <a:solidFill>
                  <a:srgbClr val="000000"/>
                </a:solidFill>
                <a:latin typeface="Calibri"/>
                <a:cs typeface="Calibri"/>
              </a:rPr>
              <a:t>595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rd. kWh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43025" algn="r"/>
                <a:tab pos="2439988" algn="r"/>
              </a:tabLst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43025" algn="r"/>
                <a:tab pos="2439988" algn="r"/>
              </a:tabLst>
              <a:defRPr/>
            </a:pPr>
            <a:r>
              <a:rPr lang="de-DE" b="1" dirty="0">
                <a:solidFill>
                  <a:srgbClr val="000000"/>
                </a:solidFill>
                <a:latin typeface="Calibri"/>
                <a:cs typeface="Calibri"/>
              </a:rPr>
              <a:t>Verbrauch/Jahr gesamt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: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43025" algn="r"/>
                <a:tab pos="2439988" algn="r"/>
              </a:tabLst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3 : 	808 Mrd. kWh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43025" algn="r"/>
                <a:tab pos="2439988" algn="r"/>
              </a:tabLst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4*:	844 Mrd. kWh</a:t>
            </a:r>
          </a:p>
        </p:txBody>
      </p:sp>
    </p:spTree>
    <p:extLst>
      <p:ext uri="{BB962C8B-B14F-4D97-AF65-F5344CB8AC3E}">
        <p14:creationId xmlns:p14="http://schemas.microsoft.com/office/powerpoint/2010/main" val="10674211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4">
            <a:extLst>
              <a:ext uri="{FF2B5EF4-FFF2-40B4-BE49-F238E27FC236}">
                <a16:creationId xmlns:a16="http://schemas.microsoft.com/office/drawing/2014/main" id="{2BFFDF8B-D7FB-4D6A-9BBA-D8A90288FB84}"/>
              </a:ext>
            </a:extLst>
          </p:cNvPr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51750528"/>
              </p:ext>
            </p:extLst>
          </p:nvPr>
        </p:nvGraphicFramePr>
        <p:xfrm>
          <a:off x="401444" y="1224235"/>
          <a:ext cx="8382194" cy="37143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05507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Monatliches Fernwärmeaufkommen* in Deutschland</a:t>
            </a:r>
          </a:p>
        </p:txBody>
      </p:sp>
      <p:sp>
        <p:nvSpPr>
          <p:cNvPr id="8" name="Text Box 7">
            <a:extLst>
              <a:ext uri="{FF2B5EF4-FFF2-40B4-BE49-F238E27FC236}">
                <a16:creationId xmlns:a16="http://schemas.microsoft.com/office/drawing/2014/main" id="{FB431447-9B02-4DEA-95AC-87F6558EAF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09273" y="4707104"/>
            <a:ext cx="3725379" cy="30777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182563" marR="0" lvl="0" indent="-182563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82563" algn="l"/>
              </a:tabLst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* einschließlich Fernkälte, zur leitungsgebundenen Wärmeversorgung; </a:t>
            </a:r>
            <a:b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</a:b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* vorläufig, teilweise geschätz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340AABE-D2B5-4CA3-8B95-539EFBA1B20E}"/>
              </a:ext>
            </a:extLst>
          </p:cNvPr>
          <p:cNvSpPr txBox="1"/>
          <p:nvPr/>
        </p:nvSpPr>
        <p:spPr>
          <a:xfrm>
            <a:off x="431255" y="4860993"/>
            <a:ext cx="210634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n: Destatis, BDEW, Stand 11</a:t>
            </a:r>
            <a:r>
              <a:rPr lang="de-DE" sz="1000">
                <a:solidFill>
                  <a:srgbClr val="000000"/>
                </a:solidFill>
                <a:latin typeface="Calibri"/>
                <a:cs typeface="Calibri"/>
              </a:rPr>
              <a:t>/2025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2" name="Textfeld 1">
            <a:extLst>
              <a:ext uri="{FF2B5EF4-FFF2-40B4-BE49-F238E27FC236}">
                <a16:creationId xmlns:a16="http://schemas.microsoft.com/office/drawing/2014/main" id="{490F4A22-28CE-43EC-BDD9-D1B6ABE97835}"/>
              </a:ext>
            </a:extLst>
          </p:cNvPr>
          <p:cNvSpPr txBox="1"/>
          <p:nvPr/>
        </p:nvSpPr>
        <p:spPr>
          <a:xfrm>
            <a:off x="7249713" y="3838825"/>
            <a:ext cx="16359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zentangaben: Veränderung zum Vorjahresmonat</a:t>
            </a:r>
            <a:endParaRPr kumimoji="0" lang="de-DE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21A54B-9D2E-4B76-9660-45FE72CDA7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B4C62AF-8D1C-F4C6-1E0D-6CE62C3B2D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</a:p>
        </p:txBody>
      </p:sp>
      <p:sp>
        <p:nvSpPr>
          <p:cNvPr id="4" name="Text Box 45">
            <a:extLst>
              <a:ext uri="{FF2B5EF4-FFF2-40B4-BE49-F238E27FC236}">
                <a16:creationId xmlns:a16="http://schemas.microsoft.com/office/drawing/2014/main" id="{0E6CC7A5-37FB-8E52-75C5-2FAF39A835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75575" y="1465939"/>
            <a:ext cx="1635953" cy="1292662"/>
          </a:xfrm>
          <a:prstGeom prst="rect">
            <a:avLst/>
          </a:prstGeom>
          <a:noFill/>
          <a:ln w="19050" algn="ctr">
            <a:solidFill>
              <a:srgbClr val="576874"/>
            </a:solidFill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defTabSz="691286" fontAlgn="base">
              <a:spcBef>
                <a:spcPct val="0"/>
              </a:spcBef>
              <a:spcAft>
                <a:spcPct val="0"/>
              </a:spcAft>
              <a:tabLst>
                <a:tab pos="1166813" algn="r"/>
              </a:tabLst>
              <a:defRPr/>
            </a:pPr>
            <a:r>
              <a:rPr lang="de-DE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bis 3. Quartal: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435100" algn="r"/>
                <a:tab pos="2439988" algn="r"/>
              </a:tabLst>
              <a:defRPr/>
            </a:pPr>
            <a:r>
              <a:rPr lang="de-DE">
                <a:solidFill>
                  <a:srgbClr val="000000"/>
                </a:solidFill>
                <a:latin typeface="Calibri"/>
                <a:cs typeface="Calibri"/>
              </a:rPr>
              <a:t>2023</a:t>
            </a: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:    </a:t>
            </a:r>
            <a:r>
              <a:rPr lang="de-DE">
                <a:solidFill>
                  <a:srgbClr val="000000"/>
                </a:solidFill>
                <a:latin typeface="Calibri"/>
                <a:cs typeface="Calibri"/>
              </a:rPr>
              <a:t>	88,5 </a:t>
            </a: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Mrd. kWh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435100" algn="r"/>
                <a:tab pos="2439988" algn="r"/>
              </a:tabLst>
              <a:defRPr/>
            </a:pPr>
            <a:r>
              <a:rPr kumimoji="0" lang="de-DE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4</a:t>
            </a: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*:    85,3</a:t>
            </a:r>
            <a:r>
              <a:rPr lang="de-DE">
                <a:solidFill>
                  <a:srgbClr val="000000"/>
                </a:solidFill>
                <a:latin typeface="Calibri"/>
                <a:cs typeface="Calibri"/>
              </a:rPr>
              <a:t> </a:t>
            </a: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rd</a:t>
            </a:r>
            <a:r>
              <a:rPr kumimoji="0" lang="de-DE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. kWh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435100" algn="r"/>
                <a:tab pos="2439988" algn="r"/>
              </a:tabLst>
              <a:defRPr/>
            </a:pP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2025</a:t>
            </a:r>
            <a:r>
              <a:rPr lang="de-DE">
                <a:solidFill>
                  <a:srgbClr val="000000"/>
                </a:solidFill>
                <a:latin typeface="Calibri"/>
                <a:cs typeface="Calibri"/>
              </a:rPr>
              <a:t>**:    88,6 </a:t>
            </a: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Mrd. kWh</a:t>
            </a:r>
            <a:endParaRPr kumimoji="0" lang="de-DE" sz="11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435100" algn="r"/>
                <a:tab pos="2439988" algn="r"/>
              </a:tabLst>
              <a:defRPr/>
            </a:pP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Jahr gesamt:</a:t>
            </a:r>
            <a:endParaRPr kumimoji="0" lang="de-DE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435100" algn="r"/>
                <a:tab pos="2439988" algn="r"/>
              </a:tabLst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3: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	</a:t>
            </a:r>
            <a:r>
              <a:rPr lang="de-DE">
                <a:solidFill>
                  <a:srgbClr val="000000"/>
                </a:solidFill>
                <a:latin typeface="Calibri"/>
                <a:cs typeface="Calibri"/>
              </a:rPr>
              <a:t>129,2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rd. kWh</a:t>
            </a:r>
          </a:p>
          <a:p>
            <a:pPr lvl="0">
              <a:tabLst>
                <a:tab pos="1435100" algn="r"/>
                <a:tab pos="2439988" algn="r"/>
              </a:tabLst>
              <a:defRPr/>
            </a:pP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2024**:</a:t>
            </a:r>
            <a:r>
              <a:rPr lang="de-DE">
                <a:solidFill>
                  <a:srgbClr val="000000"/>
                </a:solidFill>
                <a:latin typeface="Calibri"/>
                <a:cs typeface="Calibri"/>
              </a:rPr>
              <a:t>	</a:t>
            </a:r>
            <a:r>
              <a:rPr lang="de-DE">
                <a:solidFill>
                  <a:srgbClr val="000000"/>
                </a:solidFill>
              </a:rPr>
              <a:t> 129,0</a:t>
            </a:r>
            <a:r>
              <a:rPr lang="de-DE">
                <a:solidFill>
                  <a:srgbClr val="000000"/>
                </a:solidFill>
                <a:latin typeface="Calibri"/>
                <a:cs typeface="Calibri"/>
              </a:rPr>
              <a:t> </a:t>
            </a: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Mrd. kWh</a:t>
            </a:r>
          </a:p>
        </p:txBody>
      </p:sp>
    </p:spTree>
    <p:extLst>
      <p:ext uri="{BB962C8B-B14F-4D97-AF65-F5344CB8AC3E}">
        <p14:creationId xmlns:p14="http://schemas.microsoft.com/office/powerpoint/2010/main" val="2605116186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52403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88" imgH="288" progId="TCLayout.ActiveDocument.1">
                  <p:embed/>
                </p:oleObj>
              </mc:Choice>
              <mc:Fallback>
                <p:oleObj name="think-cell Folie" r:id="rId5" imgW="288" imgH="288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52403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 bwMode="auto">
          <a:xfrm>
            <a:off x="1151202" y="-1"/>
            <a:ext cx="120018" cy="120018"/>
          </a:xfrm>
          <a:prstGeom prst="rect">
            <a:avLst/>
          </a:prstGeom>
          <a:solidFill>
            <a:schemeClr val="accent1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39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Calibri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256" y="864639"/>
            <a:ext cx="8598763" cy="647628"/>
          </a:xfrm>
        </p:spPr>
        <p:txBody>
          <a:bodyPr>
            <a:normAutofit/>
          </a:bodyPr>
          <a:lstStyle/>
          <a:p>
            <a:r>
              <a:rPr lang="de-DE"/>
              <a:t>Monatliche Fernwärmeerzeugung*</a:t>
            </a:r>
            <a:endParaRPr lang="de-DE" dirty="0"/>
          </a:p>
        </p:txBody>
      </p:sp>
      <p:graphicFrame>
        <p:nvGraphicFramePr>
          <p:cNvPr id="10" name="Inhaltsplatzhalter 9">
            <a:extLst>
              <a:ext uri="{FF2B5EF4-FFF2-40B4-BE49-F238E27FC236}">
                <a16:creationId xmlns:a16="http://schemas.microsoft.com/office/drawing/2014/main" id="{CB4FECFE-AB63-42D4-9714-DDB95B6BC30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67990931"/>
              </p:ext>
            </p:extLst>
          </p:nvPr>
        </p:nvGraphicFramePr>
        <p:xfrm>
          <a:off x="401444" y="1224234"/>
          <a:ext cx="8598763" cy="37446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Textfeld 1">
            <a:extLst>
              <a:ext uri="{FF2B5EF4-FFF2-40B4-BE49-F238E27FC236}">
                <a16:creationId xmlns:a16="http://schemas.microsoft.com/office/drawing/2014/main" id="{828E5E78-AF1A-447F-B9E0-90D0E3AF0D91}"/>
              </a:ext>
            </a:extLst>
          </p:cNvPr>
          <p:cNvSpPr txBox="1"/>
          <p:nvPr/>
        </p:nvSpPr>
        <p:spPr>
          <a:xfrm>
            <a:off x="7176738" y="4320579"/>
            <a:ext cx="1869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zentangaben: Veränderung zum Vorjahresmonat</a:t>
            </a:r>
            <a:endParaRPr kumimoji="0" lang="de-DE" sz="1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B480BB1-4936-4889-9731-CEBBB9E5D0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8205E5E-4B01-4AF4-9578-D418A9C2DE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276284B-AAA3-4660-BC25-38C4B1A46292}"/>
              </a:ext>
            </a:extLst>
          </p:cNvPr>
          <p:cNvSpPr txBox="1"/>
          <p:nvPr/>
        </p:nvSpPr>
        <p:spPr>
          <a:xfrm>
            <a:off x="431255" y="4860993"/>
            <a:ext cx="210634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n: Destatis, BDEW, Stand 11/2025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2" name="Text Box 4">
            <a:extLst>
              <a:ext uri="{FF2B5EF4-FFF2-40B4-BE49-F238E27FC236}">
                <a16:creationId xmlns:a16="http://schemas.microsoft.com/office/drawing/2014/main" id="{EEF375D6-A7BE-44DE-BBDD-A690FC684B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11299" y="4702373"/>
            <a:ext cx="4974118" cy="30777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0" marR="0" lvl="0" indent="0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 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r Fernwärme-/-kälteversorger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owie Einspeisungen von Industrie 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nd sonstigen Erzeugern; </a:t>
            </a:r>
            <a:b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</a:b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* vorläufig; teilweise geschätz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80998587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8304CF-684D-C0B9-7D3F-9AF537E900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507" name="Rectangle 2">
            <a:extLst>
              <a:ext uri="{FF2B5EF4-FFF2-40B4-BE49-F238E27FC236}">
                <a16:creationId xmlns:a16="http://schemas.microsoft.com/office/drawing/2014/main" id="{13CB38C5-1DCA-B8B5-95D1-5C3C750BFC1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natlicher Stromverbrauch in Deutschland</a:t>
            </a:r>
          </a:p>
        </p:txBody>
      </p:sp>
      <p:sp>
        <p:nvSpPr>
          <p:cNvPr id="10" name="Text Box 7">
            <a:extLst>
              <a:ext uri="{FF2B5EF4-FFF2-40B4-BE49-F238E27FC236}">
                <a16:creationId xmlns:a16="http://schemas.microsoft.com/office/drawing/2014/main" id="{32366B72-F7BA-F69F-D215-DE8B6A5D0C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47678" y="4864469"/>
            <a:ext cx="158697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</a:lstStyle>
          <a:p>
            <a:pPr marL="182563" marR="0" lvl="0" indent="-182563" algn="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82563" algn="l"/>
              </a:tabLst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* vorläufig; kalendermonatlich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80BA6EA-FFD5-D443-A4D7-8912C910C4A6}"/>
              </a:ext>
            </a:extLst>
          </p:cNvPr>
          <p:cNvSpPr txBox="1"/>
          <p:nvPr/>
        </p:nvSpPr>
        <p:spPr>
          <a:xfrm>
            <a:off x="431255" y="4864469"/>
            <a:ext cx="155972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lle: BDEW, Stand 11/2025</a:t>
            </a:r>
          </a:p>
        </p:txBody>
      </p:sp>
      <p:graphicFrame>
        <p:nvGraphicFramePr>
          <p:cNvPr id="12" name="Object 4">
            <a:extLst>
              <a:ext uri="{FF2B5EF4-FFF2-40B4-BE49-F238E27FC236}">
                <a16:creationId xmlns:a16="http://schemas.microsoft.com/office/drawing/2014/main" id="{D20BA09E-5C00-4645-D064-D2F201B519A4}"/>
              </a:ext>
            </a:extLst>
          </p:cNvPr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67242954"/>
              </p:ext>
            </p:extLst>
          </p:nvPr>
        </p:nvGraphicFramePr>
        <p:xfrm>
          <a:off x="401444" y="1171857"/>
          <a:ext cx="8389920" cy="3656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feld 1">
            <a:extLst>
              <a:ext uri="{FF2B5EF4-FFF2-40B4-BE49-F238E27FC236}">
                <a16:creationId xmlns:a16="http://schemas.microsoft.com/office/drawing/2014/main" id="{BA5DB224-E2B0-AD4C-47C1-74DF12FDA9A0}"/>
              </a:ext>
            </a:extLst>
          </p:cNvPr>
          <p:cNvSpPr txBox="1"/>
          <p:nvPr/>
        </p:nvSpPr>
        <p:spPr>
          <a:xfrm>
            <a:off x="7322266" y="3925465"/>
            <a:ext cx="153392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400"/>
              </a:spcAft>
              <a:buClr>
                <a:schemeClr val="tx2"/>
              </a:buClr>
              <a:defRPr sz="1000" i="1"/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zentangaben: Veränderung zum Vorjahresmonat</a:t>
            </a:r>
            <a:endParaRPr kumimoji="0" lang="de-DE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E8E0E-E69A-CDF6-F8DA-62CA2DD109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5.12.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EC53F9B-C34F-20D1-6C5B-9CC32809A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57687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rtalsbericht III/2025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57687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Text Box 45">
            <a:extLst>
              <a:ext uri="{FF2B5EF4-FFF2-40B4-BE49-F238E27FC236}">
                <a16:creationId xmlns:a16="http://schemas.microsoft.com/office/drawing/2014/main" id="{11B1501B-2E78-92D5-37A6-74D738372D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39501" y="1440259"/>
            <a:ext cx="1595220" cy="1461939"/>
          </a:xfrm>
          <a:prstGeom prst="rect">
            <a:avLst/>
          </a:prstGeom>
          <a:noFill/>
          <a:ln w="19050" algn="ctr">
            <a:solidFill>
              <a:srgbClr val="576874"/>
            </a:solidFill>
            <a:miter lim="800000"/>
            <a:headEnd/>
            <a:tailEnd/>
          </a:ln>
          <a:effectLst/>
        </p:spPr>
        <p:txBody>
          <a:bodyPr wrap="square" anchor="t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defTabSz="691286" fontAlgn="base">
              <a:spcBef>
                <a:spcPct val="0"/>
              </a:spcBef>
              <a:spcAft>
                <a:spcPct val="0"/>
              </a:spcAft>
              <a:tabLst>
                <a:tab pos="1166813" algn="r"/>
              </a:tabLst>
              <a:defRPr/>
            </a:pPr>
            <a:r>
              <a:rPr lang="de-DE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bis 3. Quartal: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44613" algn="r"/>
                <a:tab pos="2439988" algn="r"/>
              </a:tabLst>
              <a:defRPr/>
            </a:pPr>
            <a:r>
              <a:rPr lang="de-DE">
                <a:solidFill>
                  <a:srgbClr val="000000"/>
                </a:solidFill>
                <a:latin typeface="Calibri"/>
                <a:cs typeface="Calibri"/>
              </a:rPr>
              <a:t>2023</a:t>
            </a: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*:</a:t>
            </a:r>
            <a:r>
              <a:rPr lang="de-DE">
                <a:solidFill>
                  <a:srgbClr val="000000"/>
                </a:solidFill>
                <a:latin typeface="Calibri"/>
                <a:cs typeface="Calibri"/>
              </a:rPr>
              <a:t>	363 </a:t>
            </a: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Mrd. kWh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44613" algn="r"/>
                <a:tab pos="2439988" algn="r"/>
              </a:tabLst>
              <a:defRPr/>
            </a:pP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2024*:</a:t>
            </a:r>
            <a:r>
              <a:rPr lang="de-DE">
                <a:solidFill>
                  <a:srgbClr val="000000"/>
                </a:solidFill>
                <a:latin typeface="Calibri"/>
                <a:cs typeface="Calibri"/>
              </a:rPr>
              <a:t>	365 </a:t>
            </a: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Mrd. kWh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44613" algn="r"/>
                <a:tab pos="2439988" algn="r"/>
              </a:tabLst>
              <a:defRPr/>
            </a:pP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2025*:</a:t>
            </a:r>
            <a:r>
              <a:rPr lang="de-DE">
                <a:solidFill>
                  <a:srgbClr val="000000"/>
                </a:solidFill>
                <a:latin typeface="Calibri"/>
                <a:cs typeface="Calibri"/>
              </a:rPr>
              <a:t>	364 </a:t>
            </a: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Mrd. kWh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44613" algn="r"/>
                <a:tab pos="2439988" algn="r"/>
              </a:tabLst>
              <a:defRPr/>
            </a:pPr>
            <a:endParaRPr lang="de-DE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44613" algn="r"/>
                <a:tab pos="2439988" algn="r"/>
              </a:tabLst>
              <a:defRPr/>
            </a:pPr>
            <a:r>
              <a:rPr lang="de-DE" b="1" dirty="0">
                <a:solidFill>
                  <a:srgbClr val="000000"/>
                </a:solidFill>
                <a:latin typeface="Calibri"/>
                <a:cs typeface="Calibri"/>
              </a:rPr>
              <a:t>Verbrauch/Jahr gesamt</a:t>
            </a: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: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44613" algn="r"/>
                <a:tab pos="2439988" algn="r"/>
              </a:tabLst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3*:	487 Mrd. kWh</a:t>
            </a:r>
          </a:p>
          <a:p>
            <a:pPr marL="0" marR="0" lvl="0" indent="0" algn="l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44613" algn="r"/>
                <a:tab pos="2439988" algn="r"/>
              </a:tabLst>
              <a:defRPr/>
            </a:pPr>
            <a:r>
              <a:rPr lang="de-DE" dirty="0">
                <a:solidFill>
                  <a:srgbClr val="000000"/>
                </a:solidFill>
                <a:latin typeface="Calibri"/>
                <a:cs typeface="Calibri"/>
              </a:rPr>
              <a:t>2024*:	490 Mrd. kWh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56317917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120"/>
  <p:tag name="MCSLCONFIGZOOMFACTOR" val="2.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RTq5AsRECryqJR5Ym9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B-SLIDENAME" val="Titel mit Bildbeispiel 1"/>
  <p:tag name="FB-CATEGORY" val="Titel und Trenner und Schlussseite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RsAQuGTUmj8fZTlPdk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fxsqg_RaG8RYc4ZPs0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8VpI_9R56OUp9G5zn5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heme/theme1.xml><?xml version="1.0" encoding="utf-8"?>
<a:theme xmlns:a="http://schemas.openxmlformats.org/drawingml/2006/main" name="PPT-Vorlage_BDEW_14-12-2020">
  <a:themeElements>
    <a:clrScheme name="BDEW">
      <a:dk1>
        <a:srgbClr val="000000"/>
      </a:dk1>
      <a:lt1>
        <a:srgbClr val="FFFFFF"/>
      </a:lt1>
      <a:dk2>
        <a:srgbClr val="000000"/>
      </a:dk2>
      <a:lt2>
        <a:srgbClr val="C20000"/>
      </a:lt2>
      <a:accent1>
        <a:srgbClr val="C20000"/>
      </a:accent1>
      <a:accent2>
        <a:srgbClr val="0068AF"/>
      </a:accent2>
      <a:accent3>
        <a:srgbClr val="576874"/>
      </a:accent3>
      <a:accent4>
        <a:srgbClr val="46AA28"/>
      </a:accent4>
      <a:accent5>
        <a:srgbClr val="99C200"/>
      </a:accent5>
      <a:accent6>
        <a:srgbClr val="FEC800"/>
      </a:accent6>
      <a:hlink>
        <a:srgbClr val="003457"/>
      </a:hlink>
      <a:folHlink>
        <a:srgbClr val="8E0721"/>
      </a:folHlink>
    </a:clrScheme>
    <a:fontScheme name="BDEW">
      <a:majorFont>
        <a:latin typeface="Calibri"/>
        <a:ea typeface=""/>
        <a:cs typeface="Calibri"/>
      </a:majorFont>
      <a:minorFont>
        <a:latin typeface="Calibri"/>
        <a:ea typeface="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spcAft>
            <a:spcPts val="1000"/>
          </a:spcAft>
          <a:defRPr sz="18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marL="360000" indent="-360000" algn="l">
          <a:spcBef>
            <a:spcPts val="500"/>
          </a:spcBef>
          <a:spcAft>
            <a:spcPts val="500"/>
          </a:spcAft>
          <a:buClr>
            <a:schemeClr val="bg2"/>
          </a:buClr>
          <a:buFont typeface="Calibri" panose="020F0502020204030204" pitchFamily="34" charset="0"/>
          <a:buChar char="•"/>
          <a:defRPr sz="1800" dirty="0" err="1" smtClean="0"/>
        </a:defPPr>
      </a:lstStyle>
    </a:txDef>
  </a:objectDefaults>
  <a:extraClrSchemeLst/>
  <a:custClrLst>
    <a:custClr name="BDEW-Rot/Energie">
      <a:srgbClr val="C20000"/>
    </a:custClr>
    <a:custClr name="BDEW-Blau/Wasser">
      <a:srgbClr val="0068AF"/>
    </a:custClr>
    <a:custClr name="BDEW-Grau">
      <a:srgbClr val="576874"/>
    </a:custClr>
    <a:custClr name="Gas">
      <a:srgbClr val="46AA28"/>
    </a:custClr>
    <a:custClr name="Strom">
      <a:srgbClr val="FF7F24"/>
    </a:custClr>
    <a:custClr name="Erneuerbare">
      <a:srgbClr val="99C200"/>
    </a:custClr>
    <a:custClr name="Wind">
      <a:srgbClr val="00AFD8"/>
    </a:custClr>
    <a:custClr name="Navy Blue">
      <a:srgbClr val="27408B"/>
    </a:custClr>
    <a:custClr name="Cadet Blue">
      <a:srgbClr val="5F9EA0"/>
    </a:custClr>
    <a:custClr name="Red">
      <a:srgbClr val="FF0000"/>
    </a:custClr>
    <a:custClr name="E 80 %">
      <a:srgbClr val="C84730"/>
    </a:custClr>
    <a:custClr name="W 80 %">
      <a:srgbClr val="1E7EBA"/>
    </a:custClr>
    <a:custClr name="G 80 %">
      <a:srgbClr val="748592"/>
    </a:custClr>
    <a:custClr name="Gas 80 %">
      <a:srgbClr val="62B748"/>
    </a:custClr>
    <a:custClr name="Fernwärme">
      <a:srgbClr val="7B0B6D"/>
    </a:custClr>
    <a:custClr name="Wasserstoff">
      <a:srgbClr val="20B2AA"/>
    </a:custClr>
    <a:custClr name="Mineralöl">
      <a:srgbClr val="477390"/>
    </a:custClr>
    <a:custClr name="Royal Blue">
      <a:srgbClr val="4069E1"/>
    </a:custClr>
    <a:custClr name="Ocean Green">
      <a:srgbClr val="00C5CD"/>
    </a:custClr>
    <a:custClr name="Orange Red">
      <a:srgbClr val="FF4500"/>
    </a:custClr>
    <a:custClr name="E 60 %">
      <a:srgbClr val="D5775B"/>
    </a:custClr>
    <a:custClr name="W 60 %">
      <a:srgbClr val="6C99C9"/>
    </a:custClr>
    <a:custClr name="G 60 %">
      <a:srgbClr val="94A2AE"/>
    </a:custClr>
    <a:custClr name="Gas 60 %">
      <a:srgbClr val="90CC7E"/>
    </a:custClr>
    <a:custClr name="Abwasser">
      <a:srgbClr val="6C99C9"/>
    </a:custClr>
    <a:custClr name="Holz">
      <a:srgbClr val="CD853F"/>
    </a:custClr>
    <a:custClr name="Kernenergie">
      <a:srgbClr val="4B4D72"/>
    </a:custClr>
    <a:custClr name="Dodger Blue">
      <a:srgbClr val="1E90FF"/>
    </a:custClr>
    <a:custClr name="Medium Aquamarine">
      <a:srgbClr val="66CDAA"/>
    </a:custClr>
    <a:custClr name="Blue Violet">
      <a:srgbClr val="8A2BE2"/>
    </a:custClr>
    <a:custClr name="E 40 %">
      <a:srgbClr val="E2A58C"/>
    </a:custClr>
    <a:custClr name="W 40 %">
      <a:srgbClr val="A0B8DB"/>
    </a:custClr>
    <a:custClr name="G 40 %">
      <a:srgbClr val="B5C0C9"/>
    </a:custClr>
    <a:custClr name="Gas 40 %">
      <a:srgbClr val="B5DDA9"/>
    </a:custClr>
    <a:custClr name="PV">
      <a:srgbClr val="FEC800"/>
    </a:custClr>
    <a:custClr name="Braunkohle">
      <a:srgbClr val="8C3725"/>
    </a:custClr>
    <a:custClr name="Steinkohle">
      <a:srgbClr val="333333"/>
    </a:custClr>
    <a:custClr name="Sky Blue">
      <a:srgbClr val="6CA6CD"/>
    </a:custClr>
    <a:custClr name="Green">
      <a:srgbClr val="96DC32"/>
    </a:custClr>
    <a:custClr name="Fuchsia">
      <a:srgbClr val="FF00FF"/>
    </a:custClr>
    <a:custClr name="E 20 %">
      <a:srgbClr val="F1D1C1"/>
    </a:custClr>
    <a:custClr name="W 20 %">
      <a:srgbClr val="D0DAED"/>
    </a:custClr>
    <a:custClr name="G 20 %">
      <a:srgbClr val="D8DFE4"/>
    </a:custClr>
    <a:custClr name="Gas 20 %">
      <a:srgbClr val="DAEED4"/>
    </a:custClr>
    <a:custClr name="Biomasse">
      <a:srgbClr val="C4DA80"/>
    </a:custClr>
    <a:custClr name="Wind Offshore">
      <a:srgbClr val="84CFE7"/>
    </a:custClr>
    <a:custClr name="Stone Grey">
      <a:srgbClr val="9C9C9C"/>
    </a:custClr>
    <a:custClr name="Blue Green">
      <a:srgbClr val="B4CDCD"/>
    </a:custClr>
    <a:custClr name="Chartreuse">
      <a:srgbClr val="7FFF00"/>
    </a:custClr>
    <a:custClr name="Turquois">
      <a:srgbClr val="00F5FF"/>
    </a:custClr>
  </a:custClrLst>
  <a:extLst>
    <a:ext uri="{05A4C25C-085E-4340-85A3-A5531E510DB2}">
      <thm15:themeFamily xmlns:thm15="http://schemas.microsoft.com/office/thememl/2012/main" name="PPT-Vorlage_BDEW_14-12-2020.potx" id="{1CCEF9C1-3218-490B-970E-40E21DD563EC}" vid="{82CDEF58-AA5B-4C87-8EFF-199324526341}"/>
    </a:ext>
  </a:extLst>
</a:theme>
</file>

<file path=ppt/theme/theme2.xml><?xml version="1.0" encoding="utf-8"?>
<a:theme xmlns:a="http://schemas.openxmlformats.org/drawingml/2006/main" name="Office">
  <a:themeElements>
    <a:clrScheme name="BDEW Wasser">
      <a:dk1>
        <a:srgbClr val="000000"/>
      </a:dk1>
      <a:lt1>
        <a:srgbClr val="FFFFFF"/>
      </a:lt1>
      <a:dk2>
        <a:srgbClr val="000000"/>
      </a:dk2>
      <a:lt2>
        <a:srgbClr val="0068AF"/>
      </a:lt2>
      <a:accent1>
        <a:srgbClr val="0068AF"/>
      </a:accent1>
      <a:accent2>
        <a:srgbClr val="C20000"/>
      </a:accent2>
      <a:accent3>
        <a:srgbClr val="576874"/>
      </a:accent3>
      <a:accent4>
        <a:srgbClr val="46AA28"/>
      </a:accent4>
      <a:accent5>
        <a:srgbClr val="99C200"/>
      </a:accent5>
      <a:accent6>
        <a:srgbClr val="FEC800"/>
      </a:accent6>
      <a:hlink>
        <a:srgbClr val="003457"/>
      </a:hlink>
      <a:folHlink>
        <a:srgbClr val="8E0721"/>
      </a:folHlink>
    </a:clrScheme>
    <a:fontScheme name="BDEW">
      <a:majorFont>
        <a:latin typeface="Calibri"/>
        <a:ea typeface=""/>
        <a:cs typeface="Calibri"/>
      </a:majorFont>
      <a:minorFont>
        <a:latin typeface="Calibri"/>
        <a:ea typeface="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DEW">
      <a:dk1>
        <a:srgbClr val="000000"/>
      </a:dk1>
      <a:lt1>
        <a:srgbClr val="FFFFFF"/>
      </a:lt1>
      <a:dk2>
        <a:srgbClr val="000000"/>
      </a:dk2>
      <a:lt2>
        <a:srgbClr val="C20000"/>
      </a:lt2>
      <a:accent1>
        <a:srgbClr val="C20000"/>
      </a:accent1>
      <a:accent2>
        <a:srgbClr val="0068AF"/>
      </a:accent2>
      <a:accent3>
        <a:srgbClr val="576874"/>
      </a:accent3>
      <a:accent4>
        <a:srgbClr val="46AA28"/>
      </a:accent4>
      <a:accent5>
        <a:srgbClr val="99C200"/>
      </a:accent5>
      <a:accent6>
        <a:srgbClr val="FEC800"/>
      </a:accent6>
      <a:hlink>
        <a:srgbClr val="003457"/>
      </a:hlink>
      <a:folHlink>
        <a:srgbClr val="8E0721"/>
      </a:folHlink>
    </a:clrScheme>
    <a:fontScheme name="BDEW">
      <a:majorFont>
        <a:latin typeface="Calibri"/>
        <a:ea typeface=""/>
        <a:cs typeface="Calibri"/>
      </a:majorFont>
      <a:minorFont>
        <a:latin typeface="Calibri"/>
        <a:ea typeface="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BDEW">
    <a:dk1>
      <a:srgbClr val="000000"/>
    </a:dk1>
    <a:lt1>
      <a:srgbClr val="FFFFFF"/>
    </a:lt1>
    <a:dk2>
      <a:srgbClr val="000000"/>
    </a:dk2>
    <a:lt2>
      <a:srgbClr val="C20000"/>
    </a:lt2>
    <a:accent1>
      <a:srgbClr val="C20000"/>
    </a:accent1>
    <a:accent2>
      <a:srgbClr val="0068AF"/>
    </a:accent2>
    <a:accent3>
      <a:srgbClr val="576874"/>
    </a:accent3>
    <a:accent4>
      <a:srgbClr val="46AA28"/>
    </a:accent4>
    <a:accent5>
      <a:srgbClr val="99C200"/>
    </a:accent5>
    <a:accent6>
      <a:srgbClr val="FEC800"/>
    </a:accent6>
    <a:hlink>
      <a:srgbClr val="003457"/>
    </a:hlink>
    <a:folHlink>
      <a:srgbClr val="8E0721"/>
    </a:folHlink>
  </a:clrScheme>
  <a:fontScheme name="BDEW">
    <a:majorFont>
      <a:latin typeface="Calibri"/>
      <a:ea typeface=""/>
      <a:cs typeface="Calibri"/>
    </a:majorFont>
    <a:minorFont>
      <a:latin typeface="Calibri"/>
      <a:ea typeface=""/>
      <a:cs typeface="Calibri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BDEW">
    <a:dk1>
      <a:srgbClr val="000000"/>
    </a:dk1>
    <a:lt1>
      <a:srgbClr val="FFFFFF"/>
    </a:lt1>
    <a:dk2>
      <a:srgbClr val="000000"/>
    </a:dk2>
    <a:lt2>
      <a:srgbClr val="C20000"/>
    </a:lt2>
    <a:accent1>
      <a:srgbClr val="C20000"/>
    </a:accent1>
    <a:accent2>
      <a:srgbClr val="0068AF"/>
    </a:accent2>
    <a:accent3>
      <a:srgbClr val="576874"/>
    </a:accent3>
    <a:accent4>
      <a:srgbClr val="46AA28"/>
    </a:accent4>
    <a:accent5>
      <a:srgbClr val="99C200"/>
    </a:accent5>
    <a:accent6>
      <a:srgbClr val="FEC800"/>
    </a:accent6>
    <a:hlink>
      <a:srgbClr val="003457"/>
    </a:hlink>
    <a:folHlink>
      <a:srgbClr val="8E0721"/>
    </a:folHlink>
  </a:clrScheme>
  <a:fontScheme name="BDEW">
    <a:majorFont>
      <a:latin typeface="Calibri"/>
      <a:ea typeface=""/>
      <a:cs typeface="Calibri"/>
    </a:majorFont>
    <a:minorFont>
      <a:latin typeface="Calibri"/>
      <a:ea typeface=""/>
      <a:cs typeface="Calibri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BDEW-Farben">
    <a:dk1>
      <a:srgbClr val="000000"/>
    </a:dk1>
    <a:lt1>
      <a:srgbClr val="FFFFFF"/>
    </a:lt1>
    <a:dk2>
      <a:srgbClr val="000000"/>
    </a:dk2>
    <a:lt2>
      <a:srgbClr val="FFFFFF"/>
    </a:lt2>
    <a:accent1>
      <a:srgbClr val="7E1C4B"/>
    </a:accent1>
    <a:accent2>
      <a:srgbClr val="4D6581"/>
    </a:accent2>
    <a:accent3>
      <a:srgbClr val="BE8DA5"/>
    </a:accent3>
    <a:accent4>
      <a:srgbClr val="C2986D"/>
    </a:accent4>
    <a:accent5>
      <a:srgbClr val="626C21"/>
    </a:accent5>
    <a:accent6>
      <a:srgbClr val="A6B2C0"/>
    </a:accent6>
    <a:hlink>
      <a:srgbClr val="00004D"/>
    </a:hlink>
    <a:folHlink>
      <a:srgbClr val="BE8DA5"/>
    </a:folHlink>
  </a:clrScheme>
  <a:fontScheme name="blank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BDEW-Farben">
    <a:dk1>
      <a:srgbClr val="000000"/>
    </a:dk1>
    <a:lt1>
      <a:srgbClr val="FFFFFF"/>
    </a:lt1>
    <a:dk2>
      <a:srgbClr val="000000"/>
    </a:dk2>
    <a:lt2>
      <a:srgbClr val="FFFFFF"/>
    </a:lt2>
    <a:accent1>
      <a:srgbClr val="7E1C4B"/>
    </a:accent1>
    <a:accent2>
      <a:srgbClr val="4D6581"/>
    </a:accent2>
    <a:accent3>
      <a:srgbClr val="BE8DA5"/>
    </a:accent3>
    <a:accent4>
      <a:srgbClr val="C2986D"/>
    </a:accent4>
    <a:accent5>
      <a:srgbClr val="626C21"/>
    </a:accent5>
    <a:accent6>
      <a:srgbClr val="A6B2C0"/>
    </a:accent6>
    <a:hlink>
      <a:srgbClr val="00004D"/>
    </a:hlink>
    <a:folHlink>
      <a:srgbClr val="BE8DA5"/>
    </a:folHlink>
  </a:clrScheme>
  <a:fontScheme name="blank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BDEW-Farben">
    <a:dk1>
      <a:srgbClr val="000000"/>
    </a:dk1>
    <a:lt1>
      <a:srgbClr val="FFFFFF"/>
    </a:lt1>
    <a:dk2>
      <a:srgbClr val="000000"/>
    </a:dk2>
    <a:lt2>
      <a:srgbClr val="FFFFFF"/>
    </a:lt2>
    <a:accent1>
      <a:srgbClr val="7E1C4B"/>
    </a:accent1>
    <a:accent2>
      <a:srgbClr val="4D6581"/>
    </a:accent2>
    <a:accent3>
      <a:srgbClr val="BE8DA5"/>
    </a:accent3>
    <a:accent4>
      <a:srgbClr val="C2986D"/>
    </a:accent4>
    <a:accent5>
      <a:srgbClr val="626C21"/>
    </a:accent5>
    <a:accent6>
      <a:srgbClr val="A6B2C0"/>
    </a:accent6>
    <a:hlink>
      <a:srgbClr val="00004D"/>
    </a:hlink>
    <a:folHlink>
      <a:srgbClr val="BE8DA5"/>
    </a:folHlink>
  </a:clrScheme>
  <a:fontScheme name="blank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72</Words>
  <Application>Microsoft Office PowerPoint</Application>
  <PresentationFormat>Benutzerdefiniert</PresentationFormat>
  <Paragraphs>499</Paragraphs>
  <Slides>39</Slides>
  <Notes>2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9</vt:i4>
      </vt:variant>
    </vt:vector>
  </HeadingPairs>
  <TitlesOfParts>
    <vt:vector size="45" baseType="lpstr">
      <vt:lpstr>Arial</vt:lpstr>
      <vt:lpstr>Calibri</vt:lpstr>
      <vt:lpstr>Statis Sans</vt:lpstr>
      <vt:lpstr>Wingdings</vt:lpstr>
      <vt:lpstr>PPT-Vorlage_BDEW_14-12-2020</vt:lpstr>
      <vt:lpstr>think-cell Folie</vt:lpstr>
      <vt:lpstr>Energiewirtschaftliche Entwicklungen</vt:lpstr>
      <vt:lpstr>Primärenergieverbrauch in Deutschland</vt:lpstr>
      <vt:lpstr>Bruttoinlandsprodukt (preisbereinigt, verkettet)</vt:lpstr>
      <vt:lpstr>Temperatur</vt:lpstr>
      <vt:lpstr>Gradtagzahl</vt:lpstr>
      <vt:lpstr>Monatlicher Erdgasverbrauch in Deutschland</vt:lpstr>
      <vt:lpstr>Monatliches Fernwärmeaufkommen* in Deutschland</vt:lpstr>
      <vt:lpstr>Monatliche Fernwärmeerzeugung*</vt:lpstr>
      <vt:lpstr>Monatlicher Stromverbrauch in Deutschland</vt:lpstr>
      <vt:lpstr>Monatliche Stromerzeugung in Deutschland</vt:lpstr>
      <vt:lpstr>Monatliche Stromerzeugung aus Erneuerbaren Energien</vt:lpstr>
      <vt:lpstr>Monatliche Stromerzeugung aus konventionellen Energieträgern</vt:lpstr>
      <vt:lpstr>Monatliche Stromerzeugung aus Windenergie an Land und auf See</vt:lpstr>
      <vt:lpstr>Windstärke</vt:lpstr>
      <vt:lpstr>Monatliche Stromerzeugung aus Windenergie an Land</vt:lpstr>
      <vt:lpstr>Monatliche Stromerzeugung aus Windenergie auf See </vt:lpstr>
      <vt:lpstr>Monatliche Stromerzeugung aus Photovoltaik</vt:lpstr>
      <vt:lpstr>Sonnenschein</vt:lpstr>
      <vt:lpstr>Monatliche Stromerzeugung aus Wasserkraft</vt:lpstr>
      <vt:lpstr>Niederschlag</vt:lpstr>
      <vt:lpstr>Entwicklung des EEG-Kontos</vt:lpstr>
      <vt:lpstr>Saisonaler Verlauf des Stromaustauschs</vt:lpstr>
      <vt:lpstr>PowerPoint-Präsentation</vt:lpstr>
      <vt:lpstr>Entwicklung der Beheizungsstruktur im Wohnungsneubau1 Baugenehmigungen nach primärer Heizenergie</vt:lpstr>
      <vt:lpstr>Entwicklung der Beheizungsstruktur im Wohnungsbestand</vt:lpstr>
      <vt:lpstr>Erzeugerpreisindizes für Haushalte und Industrie</vt:lpstr>
      <vt:lpstr>Preisentwicklung Strom am Terminmarkt Futures Frontjahr Base und Peak rollierend für Jahr 2024 und 1.-3. Quartal 2025</vt:lpstr>
      <vt:lpstr>Preisentwicklung Strom am Spotmarkt: Day-Ahead-Preise Tagesmittel und gleitende Durchschnitte (60 Tage) der deutsch-luxemburgischen Gebotszone  Jahre 2023, 2024 und 1.-3. Quartal 2025 </vt:lpstr>
      <vt:lpstr>Strompreise für Haushalte Durchschnittlicher Strompreis für Haushalte mit einem Jahresverbrauch von 3.500 kWh</vt:lpstr>
      <vt:lpstr>Entwicklung Preisindex bei Neuabschlüssen in der Industrie Jahresverbrauch 160.000 bis 20 Mio. kWh, ohne Berücksichtigung der Stromsteuer  </vt:lpstr>
      <vt:lpstr>Preisentwicklung Erdgas am Terminmarkt (THE) Jahr 2024 und 1.-3. Quartal 2025 </vt:lpstr>
      <vt:lpstr>Preisentwicklung Erdgas am Spotmarkt (THE)  Jahre 2023, 2024 und 1.-3. Quartal 2025 </vt:lpstr>
      <vt:lpstr>Erdgaspreis für Haushalte (EFH) in ct/kWh Durchschnittlicher Gaspreis für einen Haushalt, Einfamilienhaus, Jahresverbrauch 20.000 kWh* </vt:lpstr>
      <vt:lpstr>Erdgaspreis für Haushalte (MFH) in ct/kWh Durchschnittlicher Gaspreis für einen Haushalt im Mehrfamilienhaus (6 Parteien, Jahresverbrauch 80.000 kWh*) </vt:lpstr>
      <vt:lpstr>Gaspreisentwicklung für Haushalte und Industrie</vt:lpstr>
      <vt:lpstr>Preisentwicklung für CO2-Emissionszertifikate  Jahre 2023, 2024 und 1.-3. Quartal 2025 </vt:lpstr>
      <vt:lpstr>Treibhausgas-Emissionen des Sektors Energiewirtschaft in Mio. t CO2 eq. und Minderung gegenüber 1990 in %</vt:lpstr>
      <vt:lpstr>Klimaschutzgesetz: Entwicklung und Sektorziele Entwicklung in Mio. t CO2 eq. und Minderung gegenüber 1990 in Prozent; ohne LULUCF***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iesel, Florentine</dc:creator>
  <cp:lastModifiedBy>Schenke, Florentine</cp:lastModifiedBy>
  <cp:revision>665</cp:revision>
  <dcterms:created xsi:type="dcterms:W3CDTF">2020-12-16T17:25:00Z</dcterms:created>
  <dcterms:modified xsi:type="dcterms:W3CDTF">2025-12-05T16:0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270141673</vt:i4>
  </property>
  <property fmtid="{D5CDD505-2E9C-101B-9397-08002B2CF9AE}" pid="3" name="_NewReviewCycle">
    <vt:lpwstr/>
  </property>
  <property fmtid="{D5CDD505-2E9C-101B-9397-08002B2CF9AE}" pid="4" name="_EmailSubject">
    <vt:lpwstr>BDEW-Publikation „Energiewirtschaftliche Entwicklungen – Quartalsbericht – 3. Quartal 2025“ – Aktualisierung Downloads</vt:lpwstr>
  </property>
  <property fmtid="{D5CDD505-2E9C-101B-9397-08002B2CF9AE}" pid="5" name="_AuthorEmail">
    <vt:lpwstr>Nadine.Kraft@bdew.de</vt:lpwstr>
  </property>
  <property fmtid="{D5CDD505-2E9C-101B-9397-08002B2CF9AE}" pid="6" name="_AuthorEmailDisplayName">
    <vt:lpwstr>Kraft, Nadine</vt:lpwstr>
  </property>
</Properties>
</file>